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sldIdLst>
    <p:sldId id="256" r:id="rId2"/>
    <p:sldId id="258" r:id="rId3"/>
    <p:sldId id="259" r:id="rId4"/>
  </p:sldIdLst>
  <p:sldSz cx="12192000" cy="6858000"/>
  <p:notesSz cx="6858000" cy="9144000"/>
  <p:embeddedFontLst>
    <p:embeddedFont>
      <p:font typeface="Calibri Light" panose="020F0302020204030204" pitchFamily="34" charset="0"/>
      <p:regular r:id="rId5"/>
      <p:italic r:id="rId6"/>
    </p:embeddedFont>
    <p:embeddedFont>
      <p:font typeface="Calibri" panose="020F0502020204030204" pitchFamily="34" charset="0"/>
      <p:regular r:id="rId7"/>
      <p:bold r:id="rId8"/>
      <p:italic r:id="rId9"/>
      <p:boldItalic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5" d="100"/>
          <a:sy n="75" d="100"/>
        </p:scale>
        <p:origin x="54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font" Target="fonts/font3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presProps" Target="presProps.xml"/><Relationship Id="rId5" Type="http://schemas.openxmlformats.org/officeDocument/2006/relationships/font" Target="fonts/font1.fntdata"/><Relationship Id="rId10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font" Target="fonts/font5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708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4615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9608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373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394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9254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516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646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1314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523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4785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91C08-6930-4181-8757-578D7121A59D}" type="datetimeFigureOut">
              <a:rPr lang="en-US" smtClean="0"/>
              <a:t>8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9F1011-E648-494C-9819-8CB7454A3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590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87" Type="http://schemas.openxmlformats.org/officeDocument/2006/relationships/tags" Target="../tags/tag87.xml"/><Relationship Id="rId102" Type="http://schemas.openxmlformats.org/officeDocument/2006/relationships/tags" Target="../tags/tag102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13" Type="http://schemas.openxmlformats.org/officeDocument/2006/relationships/tags" Target="../tags/tag113.xml"/><Relationship Id="rId118" Type="http://schemas.openxmlformats.org/officeDocument/2006/relationships/slideLayout" Target="../slideLayouts/slideLayout2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16" Type="http://schemas.openxmlformats.org/officeDocument/2006/relationships/tags" Target="../tags/tag116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11" Type="http://schemas.openxmlformats.org/officeDocument/2006/relationships/tags" Target="../tags/tag11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14" Type="http://schemas.openxmlformats.org/officeDocument/2006/relationships/tags" Target="../tags/tag114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Convenien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134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an2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5145" y="2945940"/>
            <a:ext cx="584200" cy="1531360"/>
            <a:chOff x="158" y="22"/>
            <a:chExt cx="169" cy="443"/>
          </a:xfrm>
          <a:solidFill>
            <a:schemeClr val="accent1"/>
          </a:solidFill>
        </p:grpSpPr>
        <p:sp>
          <p:nvSpPr>
            <p:cNvPr id="5" name="Man2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auto">
            <a:xfrm>
              <a:off x="207" y="22"/>
              <a:ext cx="72" cy="7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Man2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158" y="102"/>
              <a:ext cx="169" cy="363"/>
            </a:xfrm>
            <a:custGeom>
              <a:avLst/>
              <a:gdLst>
                <a:gd name="T0" fmla="*/ 366 w 450"/>
                <a:gd name="T1" fmla="*/ 155 h 962"/>
                <a:gd name="T2" fmla="*/ 366 w 450"/>
                <a:gd name="T3" fmla="*/ 426 h 962"/>
                <a:gd name="T4" fmla="*/ 408 w 450"/>
                <a:gd name="T5" fmla="*/ 468 h 962"/>
                <a:gd name="T6" fmla="*/ 450 w 450"/>
                <a:gd name="T7" fmla="*/ 426 h 962"/>
                <a:gd name="T8" fmla="*/ 450 w 450"/>
                <a:gd name="T9" fmla="*/ 136 h 962"/>
                <a:gd name="T10" fmla="*/ 314 w 450"/>
                <a:gd name="T11" fmla="*/ 0 h 962"/>
                <a:gd name="T12" fmla="*/ 136 w 450"/>
                <a:gd name="T13" fmla="*/ 0 h 962"/>
                <a:gd name="T14" fmla="*/ 0 w 450"/>
                <a:gd name="T15" fmla="*/ 136 h 962"/>
                <a:gd name="T16" fmla="*/ 2 w 450"/>
                <a:gd name="T17" fmla="*/ 426 h 962"/>
                <a:gd name="T18" fmla="*/ 44 w 450"/>
                <a:gd name="T19" fmla="*/ 468 h 962"/>
                <a:gd name="T20" fmla="*/ 86 w 450"/>
                <a:gd name="T21" fmla="*/ 426 h 962"/>
                <a:gd name="T22" fmla="*/ 86 w 450"/>
                <a:gd name="T23" fmla="*/ 155 h 962"/>
                <a:gd name="T24" fmla="*/ 97 w 450"/>
                <a:gd name="T25" fmla="*/ 145 h 962"/>
                <a:gd name="T26" fmla="*/ 107 w 450"/>
                <a:gd name="T27" fmla="*/ 155 h 962"/>
                <a:gd name="T28" fmla="*/ 105 w 450"/>
                <a:gd name="T29" fmla="*/ 906 h 962"/>
                <a:gd name="T30" fmla="*/ 160 w 450"/>
                <a:gd name="T31" fmla="*/ 962 h 962"/>
                <a:gd name="T32" fmla="*/ 216 w 450"/>
                <a:gd name="T33" fmla="*/ 906 h 962"/>
                <a:gd name="T34" fmla="*/ 216 w 450"/>
                <a:gd name="T35" fmla="*/ 467 h 962"/>
                <a:gd name="T36" fmla="*/ 225 w 450"/>
                <a:gd name="T37" fmla="*/ 457 h 962"/>
                <a:gd name="T38" fmla="*/ 234 w 450"/>
                <a:gd name="T39" fmla="*/ 467 h 962"/>
                <a:gd name="T40" fmla="*/ 234 w 450"/>
                <a:gd name="T41" fmla="*/ 906 h 962"/>
                <a:gd name="T42" fmla="*/ 290 w 450"/>
                <a:gd name="T43" fmla="*/ 962 h 962"/>
                <a:gd name="T44" fmla="*/ 345 w 450"/>
                <a:gd name="T45" fmla="*/ 906 h 962"/>
                <a:gd name="T46" fmla="*/ 345 w 450"/>
                <a:gd name="T47" fmla="*/ 155 h 962"/>
                <a:gd name="T48" fmla="*/ 356 w 450"/>
                <a:gd name="T49" fmla="*/ 145 h 962"/>
                <a:gd name="T50" fmla="*/ 366 w 450"/>
                <a:gd name="T51" fmla="*/ 155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0" h="962">
                  <a:moveTo>
                    <a:pt x="366" y="155"/>
                  </a:moveTo>
                  <a:lnTo>
                    <a:pt x="366" y="426"/>
                  </a:lnTo>
                  <a:cubicBezTo>
                    <a:pt x="366" y="449"/>
                    <a:pt x="384" y="468"/>
                    <a:pt x="408" y="468"/>
                  </a:cubicBezTo>
                  <a:cubicBezTo>
                    <a:pt x="431" y="468"/>
                    <a:pt x="450" y="449"/>
                    <a:pt x="450" y="426"/>
                  </a:cubicBezTo>
                  <a:lnTo>
                    <a:pt x="450" y="136"/>
                  </a:lnTo>
                  <a:cubicBezTo>
                    <a:pt x="450" y="61"/>
                    <a:pt x="389" y="0"/>
                    <a:pt x="314" y="0"/>
                  </a:cubicBezTo>
                  <a:lnTo>
                    <a:pt x="136" y="0"/>
                  </a:lnTo>
                  <a:cubicBezTo>
                    <a:pt x="61" y="0"/>
                    <a:pt x="0" y="61"/>
                    <a:pt x="0" y="136"/>
                  </a:cubicBezTo>
                  <a:lnTo>
                    <a:pt x="2" y="426"/>
                  </a:lnTo>
                  <a:cubicBezTo>
                    <a:pt x="2" y="449"/>
                    <a:pt x="21" y="468"/>
                    <a:pt x="44" y="468"/>
                  </a:cubicBezTo>
                  <a:cubicBezTo>
                    <a:pt x="67" y="468"/>
                    <a:pt x="86" y="449"/>
                    <a:pt x="86" y="426"/>
                  </a:cubicBezTo>
                  <a:lnTo>
                    <a:pt x="86" y="155"/>
                  </a:lnTo>
                  <a:cubicBezTo>
                    <a:pt x="86" y="149"/>
                    <a:pt x="91" y="145"/>
                    <a:pt x="97" y="145"/>
                  </a:cubicBezTo>
                  <a:cubicBezTo>
                    <a:pt x="102" y="145"/>
                    <a:pt x="107" y="149"/>
                    <a:pt x="107" y="155"/>
                  </a:cubicBezTo>
                  <a:lnTo>
                    <a:pt x="105" y="906"/>
                  </a:lnTo>
                  <a:cubicBezTo>
                    <a:pt x="105" y="937"/>
                    <a:pt x="130" y="962"/>
                    <a:pt x="160" y="962"/>
                  </a:cubicBezTo>
                  <a:cubicBezTo>
                    <a:pt x="191" y="962"/>
                    <a:pt x="216" y="937"/>
                    <a:pt x="216" y="906"/>
                  </a:cubicBezTo>
                  <a:lnTo>
                    <a:pt x="216" y="467"/>
                  </a:lnTo>
                  <a:cubicBezTo>
                    <a:pt x="216" y="462"/>
                    <a:pt x="220" y="457"/>
                    <a:pt x="225" y="457"/>
                  </a:cubicBezTo>
                  <a:cubicBezTo>
                    <a:pt x="230" y="457"/>
                    <a:pt x="234" y="462"/>
                    <a:pt x="234" y="467"/>
                  </a:cubicBezTo>
                  <a:lnTo>
                    <a:pt x="234" y="906"/>
                  </a:lnTo>
                  <a:cubicBezTo>
                    <a:pt x="234" y="937"/>
                    <a:pt x="259" y="962"/>
                    <a:pt x="290" y="962"/>
                  </a:cubicBezTo>
                  <a:cubicBezTo>
                    <a:pt x="321" y="962"/>
                    <a:pt x="345" y="937"/>
                    <a:pt x="345" y="906"/>
                  </a:cubicBezTo>
                  <a:lnTo>
                    <a:pt x="345" y="155"/>
                  </a:lnTo>
                  <a:cubicBezTo>
                    <a:pt x="345" y="149"/>
                    <a:pt x="350" y="145"/>
                    <a:pt x="356" y="145"/>
                  </a:cubicBezTo>
                  <a:cubicBezTo>
                    <a:pt x="361" y="145"/>
                    <a:pt x="366" y="149"/>
                    <a:pt x="366" y="1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" name="Health_Facility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2658270" y="612256"/>
            <a:ext cx="542925" cy="542925"/>
            <a:chOff x="8" y="8"/>
            <a:chExt cx="470" cy="470"/>
          </a:xfrm>
          <a:solidFill>
            <a:schemeClr val="accent1"/>
          </a:solidFill>
        </p:grpSpPr>
        <p:sp>
          <p:nvSpPr>
            <p:cNvPr id="8" name="Health_Facility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" y="8"/>
              <a:ext cx="470" cy="156"/>
            </a:xfrm>
            <a:custGeom>
              <a:avLst/>
              <a:gdLst>
                <a:gd name="T0" fmla="*/ 1198 w 1250"/>
                <a:gd name="T1" fmla="*/ 416 h 416"/>
                <a:gd name="T2" fmla="*/ 625 w 1250"/>
                <a:gd name="T3" fmla="*/ 131 h 416"/>
                <a:gd name="T4" fmla="*/ 52 w 1250"/>
                <a:gd name="T5" fmla="*/ 416 h 416"/>
                <a:gd name="T6" fmla="*/ 0 w 1250"/>
                <a:gd name="T7" fmla="*/ 311 h 416"/>
                <a:gd name="T8" fmla="*/ 624 w 1250"/>
                <a:gd name="T9" fmla="*/ 1 h 416"/>
                <a:gd name="T10" fmla="*/ 624 w 1250"/>
                <a:gd name="T11" fmla="*/ 0 h 416"/>
                <a:gd name="T12" fmla="*/ 625 w 1250"/>
                <a:gd name="T13" fmla="*/ 0 h 416"/>
                <a:gd name="T14" fmla="*/ 625 w 1250"/>
                <a:gd name="T15" fmla="*/ 0 h 416"/>
                <a:gd name="T16" fmla="*/ 626 w 1250"/>
                <a:gd name="T17" fmla="*/ 1 h 416"/>
                <a:gd name="T18" fmla="*/ 1250 w 1250"/>
                <a:gd name="T19" fmla="*/ 311 h 416"/>
                <a:gd name="T20" fmla="*/ 1198 w 1250"/>
                <a:gd name="T21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0" h="416">
                  <a:moveTo>
                    <a:pt x="1198" y="416"/>
                  </a:moveTo>
                  <a:lnTo>
                    <a:pt x="625" y="131"/>
                  </a:lnTo>
                  <a:lnTo>
                    <a:pt x="52" y="416"/>
                  </a:lnTo>
                  <a:lnTo>
                    <a:pt x="0" y="311"/>
                  </a:lnTo>
                  <a:lnTo>
                    <a:pt x="624" y="1"/>
                  </a:lnTo>
                  <a:lnTo>
                    <a:pt x="624" y="0"/>
                  </a:lnTo>
                  <a:lnTo>
                    <a:pt x="625" y="0"/>
                  </a:lnTo>
                  <a:lnTo>
                    <a:pt x="625" y="0"/>
                  </a:lnTo>
                  <a:lnTo>
                    <a:pt x="626" y="1"/>
                  </a:lnTo>
                  <a:lnTo>
                    <a:pt x="1250" y="311"/>
                  </a:lnTo>
                  <a:lnTo>
                    <a:pt x="1198" y="4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Health_Facility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118" y="164"/>
              <a:ext cx="250" cy="314"/>
            </a:xfrm>
            <a:custGeom>
              <a:avLst/>
              <a:gdLst>
                <a:gd name="T0" fmla="*/ 168 w 666"/>
                <a:gd name="T1" fmla="*/ 833 h 833"/>
                <a:gd name="T2" fmla="*/ 168 w 666"/>
                <a:gd name="T3" fmla="*/ 469 h 833"/>
                <a:gd name="T4" fmla="*/ 498 w 666"/>
                <a:gd name="T5" fmla="*/ 469 h 833"/>
                <a:gd name="T6" fmla="*/ 498 w 666"/>
                <a:gd name="T7" fmla="*/ 833 h 833"/>
                <a:gd name="T8" fmla="*/ 666 w 666"/>
                <a:gd name="T9" fmla="*/ 833 h 833"/>
                <a:gd name="T10" fmla="*/ 666 w 666"/>
                <a:gd name="T11" fmla="*/ 0 h 833"/>
                <a:gd name="T12" fmla="*/ 498 w 666"/>
                <a:gd name="T13" fmla="*/ 0 h 833"/>
                <a:gd name="T14" fmla="*/ 498 w 666"/>
                <a:gd name="T15" fmla="*/ 327 h 833"/>
                <a:gd name="T16" fmla="*/ 168 w 666"/>
                <a:gd name="T17" fmla="*/ 327 h 833"/>
                <a:gd name="T18" fmla="*/ 168 w 666"/>
                <a:gd name="T19" fmla="*/ 0 h 833"/>
                <a:gd name="T20" fmla="*/ 0 w 666"/>
                <a:gd name="T21" fmla="*/ 0 h 833"/>
                <a:gd name="T22" fmla="*/ 0 w 666"/>
                <a:gd name="T23" fmla="*/ 833 h 833"/>
                <a:gd name="T24" fmla="*/ 168 w 666"/>
                <a:gd name="T25" fmla="*/ 833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6" h="833">
                  <a:moveTo>
                    <a:pt x="168" y="833"/>
                  </a:moveTo>
                  <a:lnTo>
                    <a:pt x="168" y="469"/>
                  </a:lnTo>
                  <a:lnTo>
                    <a:pt x="498" y="469"/>
                  </a:lnTo>
                  <a:lnTo>
                    <a:pt x="498" y="833"/>
                  </a:lnTo>
                  <a:lnTo>
                    <a:pt x="666" y="833"/>
                  </a:lnTo>
                  <a:lnTo>
                    <a:pt x="666" y="0"/>
                  </a:lnTo>
                  <a:lnTo>
                    <a:pt x="498" y="0"/>
                  </a:lnTo>
                  <a:lnTo>
                    <a:pt x="498" y="327"/>
                  </a:lnTo>
                  <a:lnTo>
                    <a:pt x="168" y="327"/>
                  </a:lnTo>
                  <a:lnTo>
                    <a:pt x="168" y="0"/>
                  </a:lnTo>
                  <a:lnTo>
                    <a:pt x="0" y="0"/>
                  </a:lnTo>
                  <a:lnTo>
                    <a:pt x="0" y="833"/>
                  </a:lnTo>
                  <a:lnTo>
                    <a:pt x="168" y="8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" name="Document2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2722707" y="1335386"/>
            <a:ext cx="414049" cy="542925"/>
            <a:chOff x="176" y="141"/>
            <a:chExt cx="151" cy="198"/>
          </a:xfrm>
          <a:solidFill>
            <a:schemeClr val="accent1"/>
          </a:solidFill>
        </p:grpSpPr>
        <p:sp>
          <p:nvSpPr>
            <p:cNvPr id="11" name="Document2"/>
            <p:cNvSpPr>
              <a:spLocks noEditPoints="1"/>
            </p:cNvSpPr>
            <p:nvPr>
              <p:custDataLst>
                <p:tags r:id="rId107"/>
              </p:custDataLst>
            </p:nvPr>
          </p:nvSpPr>
          <p:spPr bwMode="auto">
            <a:xfrm>
              <a:off x="176" y="141"/>
              <a:ext cx="151" cy="198"/>
            </a:xfrm>
            <a:custGeom>
              <a:avLst/>
              <a:gdLst>
                <a:gd name="T0" fmla="*/ 388 w 401"/>
                <a:gd name="T1" fmla="*/ 525 h 525"/>
                <a:gd name="T2" fmla="*/ 13 w 401"/>
                <a:gd name="T3" fmla="*/ 525 h 525"/>
                <a:gd name="T4" fmla="*/ 0 w 401"/>
                <a:gd name="T5" fmla="*/ 512 h 525"/>
                <a:gd name="T6" fmla="*/ 0 w 401"/>
                <a:gd name="T7" fmla="*/ 12 h 525"/>
                <a:gd name="T8" fmla="*/ 13 w 401"/>
                <a:gd name="T9" fmla="*/ 0 h 525"/>
                <a:gd name="T10" fmla="*/ 388 w 401"/>
                <a:gd name="T11" fmla="*/ 0 h 525"/>
                <a:gd name="T12" fmla="*/ 401 w 401"/>
                <a:gd name="T13" fmla="*/ 12 h 525"/>
                <a:gd name="T14" fmla="*/ 401 w 401"/>
                <a:gd name="T15" fmla="*/ 512 h 525"/>
                <a:gd name="T16" fmla="*/ 388 w 401"/>
                <a:gd name="T17" fmla="*/ 525 h 525"/>
                <a:gd name="T18" fmla="*/ 25 w 401"/>
                <a:gd name="T19" fmla="*/ 500 h 525"/>
                <a:gd name="T20" fmla="*/ 376 w 401"/>
                <a:gd name="T21" fmla="*/ 500 h 525"/>
                <a:gd name="T22" fmla="*/ 376 w 401"/>
                <a:gd name="T23" fmla="*/ 25 h 525"/>
                <a:gd name="T24" fmla="*/ 25 w 401"/>
                <a:gd name="T25" fmla="*/ 25 h 525"/>
                <a:gd name="T26" fmla="*/ 25 w 401"/>
                <a:gd name="T27" fmla="*/ 50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1" h="525">
                  <a:moveTo>
                    <a:pt x="388" y="525"/>
                  </a:moveTo>
                  <a:lnTo>
                    <a:pt x="13" y="525"/>
                  </a:lnTo>
                  <a:cubicBezTo>
                    <a:pt x="5" y="525"/>
                    <a:pt x="0" y="520"/>
                    <a:pt x="0" y="512"/>
                  </a:cubicBezTo>
                  <a:lnTo>
                    <a:pt x="0" y="12"/>
                  </a:lnTo>
                  <a:cubicBezTo>
                    <a:pt x="0" y="5"/>
                    <a:pt x="5" y="0"/>
                    <a:pt x="13" y="0"/>
                  </a:cubicBezTo>
                  <a:lnTo>
                    <a:pt x="388" y="0"/>
                  </a:lnTo>
                  <a:cubicBezTo>
                    <a:pt x="395" y="0"/>
                    <a:pt x="401" y="5"/>
                    <a:pt x="401" y="12"/>
                  </a:cubicBezTo>
                  <a:lnTo>
                    <a:pt x="401" y="512"/>
                  </a:lnTo>
                  <a:cubicBezTo>
                    <a:pt x="401" y="520"/>
                    <a:pt x="394" y="525"/>
                    <a:pt x="388" y="525"/>
                  </a:cubicBezTo>
                  <a:close/>
                  <a:moveTo>
                    <a:pt x="25" y="500"/>
                  </a:moveTo>
                  <a:lnTo>
                    <a:pt x="376" y="500"/>
                  </a:lnTo>
                  <a:lnTo>
                    <a:pt x="376" y="25"/>
                  </a:lnTo>
                  <a:lnTo>
                    <a:pt x="25" y="25"/>
                  </a:lnTo>
                  <a:lnTo>
                    <a:pt x="25" y="5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Document2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auto">
            <a:xfrm>
              <a:off x="205" y="239"/>
              <a:ext cx="94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Document2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auto">
            <a:xfrm>
              <a:off x="205" y="267"/>
              <a:ext cx="94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Document2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auto">
            <a:xfrm>
              <a:off x="205" y="295"/>
              <a:ext cx="94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Document2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auto">
            <a:xfrm>
              <a:off x="252" y="182"/>
              <a:ext cx="47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Document2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auto">
            <a:xfrm>
              <a:off x="252" y="211"/>
              <a:ext cx="47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Document2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206" y="182"/>
              <a:ext cx="36" cy="37"/>
            </a:xfrm>
            <a:custGeom>
              <a:avLst/>
              <a:gdLst>
                <a:gd name="T0" fmla="*/ 49 w 98"/>
                <a:gd name="T1" fmla="*/ 97 h 97"/>
                <a:gd name="T2" fmla="*/ 49 w 98"/>
                <a:gd name="T3" fmla="*/ 97 h 97"/>
                <a:gd name="T4" fmla="*/ 0 w 98"/>
                <a:gd name="T5" fmla="*/ 48 h 97"/>
                <a:gd name="T6" fmla="*/ 0 w 98"/>
                <a:gd name="T7" fmla="*/ 48 h 97"/>
                <a:gd name="T8" fmla="*/ 49 w 98"/>
                <a:gd name="T9" fmla="*/ 0 h 97"/>
                <a:gd name="T10" fmla="*/ 49 w 98"/>
                <a:gd name="T11" fmla="*/ 0 h 97"/>
                <a:gd name="T12" fmla="*/ 98 w 98"/>
                <a:gd name="T13" fmla="*/ 48 h 97"/>
                <a:gd name="T14" fmla="*/ 98 w 98"/>
                <a:gd name="T15" fmla="*/ 48 h 97"/>
                <a:gd name="T16" fmla="*/ 49 w 98"/>
                <a:gd name="T1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97">
                  <a:moveTo>
                    <a:pt x="49" y="97"/>
                  </a:moveTo>
                  <a:lnTo>
                    <a:pt x="49" y="97"/>
                  </a:lnTo>
                  <a:cubicBezTo>
                    <a:pt x="22" y="97"/>
                    <a:pt x="0" y="75"/>
                    <a:pt x="0" y="48"/>
                  </a:cubicBezTo>
                  <a:lnTo>
                    <a:pt x="0" y="48"/>
                  </a:lnTo>
                  <a:cubicBezTo>
                    <a:pt x="0" y="21"/>
                    <a:pt x="23" y="0"/>
                    <a:pt x="49" y="0"/>
                  </a:cubicBezTo>
                  <a:lnTo>
                    <a:pt x="49" y="0"/>
                  </a:lnTo>
                  <a:cubicBezTo>
                    <a:pt x="77" y="0"/>
                    <a:pt x="98" y="22"/>
                    <a:pt x="98" y="48"/>
                  </a:cubicBezTo>
                  <a:lnTo>
                    <a:pt x="98" y="48"/>
                  </a:lnTo>
                  <a:cubicBezTo>
                    <a:pt x="98" y="76"/>
                    <a:pt x="77" y="97"/>
                    <a:pt x="49" y="9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2394279" y="2007187"/>
            <a:ext cx="10188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err="1" smtClean="0"/>
              <a:t>PacientesId</a:t>
            </a:r>
            <a:endParaRPr lang="en-US" sz="1400" dirty="0" smtClean="0"/>
          </a:p>
          <a:p>
            <a:pPr algn="ctr"/>
            <a:r>
              <a:rPr lang="en-US" sz="1400" dirty="0" smtClean="0"/>
              <a:t>Clave</a:t>
            </a:r>
            <a:endParaRPr lang="en-US" sz="1400" dirty="0"/>
          </a:p>
        </p:txBody>
      </p:sp>
      <p:grpSp>
        <p:nvGrpSpPr>
          <p:cNvPr id="19" name="Browser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1534005" y="3270697"/>
            <a:ext cx="976144" cy="827326"/>
            <a:chOff x="2545" y="863"/>
            <a:chExt cx="2513" cy="2387"/>
          </a:xfrm>
          <a:solidFill>
            <a:schemeClr val="accent1"/>
          </a:solidFill>
        </p:grpSpPr>
        <p:sp>
          <p:nvSpPr>
            <p:cNvPr id="20" name="Freeform 150"/>
            <p:cNvSpPr>
              <a:spLocks noEditPoints="1"/>
            </p:cNvSpPr>
            <p:nvPr/>
          </p:nvSpPr>
          <p:spPr bwMode="auto">
            <a:xfrm>
              <a:off x="2545" y="1523"/>
              <a:ext cx="2513" cy="1727"/>
            </a:xfrm>
            <a:custGeom>
              <a:avLst/>
              <a:gdLst>
                <a:gd name="T0" fmla="*/ 50 w 633"/>
                <a:gd name="T1" fmla="*/ 84 h 434"/>
                <a:gd name="T2" fmla="*/ 250 w 633"/>
                <a:gd name="T3" fmla="*/ 84 h 434"/>
                <a:gd name="T4" fmla="*/ 250 w 633"/>
                <a:gd name="T5" fmla="*/ 384 h 434"/>
                <a:gd name="T6" fmla="*/ 50 w 633"/>
                <a:gd name="T7" fmla="*/ 384 h 434"/>
                <a:gd name="T8" fmla="*/ 50 w 633"/>
                <a:gd name="T9" fmla="*/ 84 h 434"/>
                <a:gd name="T10" fmla="*/ 316 w 633"/>
                <a:gd name="T11" fmla="*/ 350 h 434"/>
                <a:gd name="T12" fmla="*/ 583 w 633"/>
                <a:gd name="T13" fmla="*/ 350 h 434"/>
                <a:gd name="T14" fmla="*/ 583 w 633"/>
                <a:gd name="T15" fmla="*/ 384 h 434"/>
                <a:gd name="T16" fmla="*/ 316 w 633"/>
                <a:gd name="T17" fmla="*/ 384 h 434"/>
                <a:gd name="T18" fmla="*/ 316 w 633"/>
                <a:gd name="T19" fmla="*/ 350 h 434"/>
                <a:gd name="T20" fmla="*/ 316 w 633"/>
                <a:gd name="T21" fmla="*/ 284 h 434"/>
                <a:gd name="T22" fmla="*/ 583 w 633"/>
                <a:gd name="T23" fmla="*/ 284 h 434"/>
                <a:gd name="T24" fmla="*/ 583 w 633"/>
                <a:gd name="T25" fmla="*/ 317 h 434"/>
                <a:gd name="T26" fmla="*/ 316 w 633"/>
                <a:gd name="T27" fmla="*/ 317 h 434"/>
                <a:gd name="T28" fmla="*/ 316 w 633"/>
                <a:gd name="T29" fmla="*/ 284 h 434"/>
                <a:gd name="T30" fmla="*/ 316 w 633"/>
                <a:gd name="T31" fmla="*/ 217 h 434"/>
                <a:gd name="T32" fmla="*/ 583 w 633"/>
                <a:gd name="T33" fmla="*/ 217 h 434"/>
                <a:gd name="T34" fmla="*/ 583 w 633"/>
                <a:gd name="T35" fmla="*/ 250 h 434"/>
                <a:gd name="T36" fmla="*/ 316 w 633"/>
                <a:gd name="T37" fmla="*/ 250 h 434"/>
                <a:gd name="T38" fmla="*/ 316 w 633"/>
                <a:gd name="T39" fmla="*/ 217 h 434"/>
                <a:gd name="T40" fmla="*/ 316 w 633"/>
                <a:gd name="T41" fmla="*/ 150 h 434"/>
                <a:gd name="T42" fmla="*/ 583 w 633"/>
                <a:gd name="T43" fmla="*/ 150 h 434"/>
                <a:gd name="T44" fmla="*/ 583 w 633"/>
                <a:gd name="T45" fmla="*/ 184 h 434"/>
                <a:gd name="T46" fmla="*/ 316 w 633"/>
                <a:gd name="T47" fmla="*/ 184 h 434"/>
                <a:gd name="T48" fmla="*/ 316 w 633"/>
                <a:gd name="T49" fmla="*/ 150 h 434"/>
                <a:gd name="T50" fmla="*/ 316 w 633"/>
                <a:gd name="T51" fmla="*/ 84 h 434"/>
                <a:gd name="T52" fmla="*/ 583 w 633"/>
                <a:gd name="T53" fmla="*/ 84 h 434"/>
                <a:gd name="T54" fmla="*/ 583 w 633"/>
                <a:gd name="T55" fmla="*/ 117 h 434"/>
                <a:gd name="T56" fmla="*/ 316 w 633"/>
                <a:gd name="T57" fmla="*/ 117 h 434"/>
                <a:gd name="T58" fmla="*/ 316 w 633"/>
                <a:gd name="T59" fmla="*/ 84 h 434"/>
                <a:gd name="T60" fmla="*/ 0 w 633"/>
                <a:gd name="T61" fmla="*/ 384 h 434"/>
                <a:gd name="T62" fmla="*/ 50 w 633"/>
                <a:gd name="T63" fmla="*/ 434 h 434"/>
                <a:gd name="T64" fmla="*/ 583 w 633"/>
                <a:gd name="T65" fmla="*/ 434 h 434"/>
                <a:gd name="T66" fmla="*/ 633 w 633"/>
                <a:gd name="T67" fmla="*/ 384 h 434"/>
                <a:gd name="T68" fmla="*/ 633 w 633"/>
                <a:gd name="T69" fmla="*/ 0 h 434"/>
                <a:gd name="T70" fmla="*/ 0 w 633"/>
                <a:gd name="T71" fmla="*/ 0 h 434"/>
                <a:gd name="T72" fmla="*/ 0 w 633"/>
                <a:gd name="T73" fmla="*/ 384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33" h="434">
                  <a:moveTo>
                    <a:pt x="50" y="84"/>
                  </a:moveTo>
                  <a:lnTo>
                    <a:pt x="250" y="84"/>
                  </a:lnTo>
                  <a:lnTo>
                    <a:pt x="250" y="384"/>
                  </a:lnTo>
                  <a:lnTo>
                    <a:pt x="50" y="384"/>
                  </a:lnTo>
                  <a:lnTo>
                    <a:pt x="50" y="84"/>
                  </a:lnTo>
                  <a:close/>
                  <a:moveTo>
                    <a:pt x="316" y="350"/>
                  </a:moveTo>
                  <a:lnTo>
                    <a:pt x="583" y="350"/>
                  </a:lnTo>
                  <a:lnTo>
                    <a:pt x="583" y="384"/>
                  </a:lnTo>
                  <a:lnTo>
                    <a:pt x="316" y="384"/>
                  </a:lnTo>
                  <a:lnTo>
                    <a:pt x="316" y="350"/>
                  </a:lnTo>
                  <a:close/>
                  <a:moveTo>
                    <a:pt x="316" y="284"/>
                  </a:moveTo>
                  <a:lnTo>
                    <a:pt x="583" y="284"/>
                  </a:lnTo>
                  <a:lnTo>
                    <a:pt x="583" y="317"/>
                  </a:lnTo>
                  <a:lnTo>
                    <a:pt x="316" y="317"/>
                  </a:lnTo>
                  <a:lnTo>
                    <a:pt x="316" y="284"/>
                  </a:lnTo>
                  <a:close/>
                  <a:moveTo>
                    <a:pt x="316" y="217"/>
                  </a:moveTo>
                  <a:lnTo>
                    <a:pt x="583" y="217"/>
                  </a:lnTo>
                  <a:lnTo>
                    <a:pt x="583" y="250"/>
                  </a:lnTo>
                  <a:lnTo>
                    <a:pt x="316" y="250"/>
                  </a:lnTo>
                  <a:lnTo>
                    <a:pt x="316" y="217"/>
                  </a:lnTo>
                  <a:close/>
                  <a:moveTo>
                    <a:pt x="316" y="150"/>
                  </a:moveTo>
                  <a:lnTo>
                    <a:pt x="583" y="150"/>
                  </a:lnTo>
                  <a:lnTo>
                    <a:pt x="583" y="184"/>
                  </a:lnTo>
                  <a:lnTo>
                    <a:pt x="316" y="184"/>
                  </a:lnTo>
                  <a:lnTo>
                    <a:pt x="316" y="150"/>
                  </a:lnTo>
                  <a:close/>
                  <a:moveTo>
                    <a:pt x="316" y="84"/>
                  </a:moveTo>
                  <a:lnTo>
                    <a:pt x="583" y="84"/>
                  </a:lnTo>
                  <a:lnTo>
                    <a:pt x="583" y="117"/>
                  </a:lnTo>
                  <a:lnTo>
                    <a:pt x="316" y="117"/>
                  </a:lnTo>
                  <a:lnTo>
                    <a:pt x="316" y="84"/>
                  </a:lnTo>
                  <a:close/>
                  <a:moveTo>
                    <a:pt x="0" y="384"/>
                  </a:moveTo>
                  <a:cubicBezTo>
                    <a:pt x="0" y="411"/>
                    <a:pt x="22" y="434"/>
                    <a:pt x="50" y="434"/>
                  </a:cubicBezTo>
                  <a:lnTo>
                    <a:pt x="583" y="434"/>
                  </a:lnTo>
                  <a:cubicBezTo>
                    <a:pt x="611" y="434"/>
                    <a:pt x="633" y="411"/>
                    <a:pt x="633" y="384"/>
                  </a:cubicBezTo>
                  <a:lnTo>
                    <a:pt x="633" y="0"/>
                  </a:lnTo>
                  <a:lnTo>
                    <a:pt x="0" y="0"/>
                  </a:lnTo>
                  <a:lnTo>
                    <a:pt x="0" y="3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51"/>
            <p:cNvSpPr>
              <a:spLocks noEditPoints="1"/>
            </p:cNvSpPr>
            <p:nvPr/>
          </p:nvSpPr>
          <p:spPr bwMode="auto">
            <a:xfrm>
              <a:off x="2545" y="863"/>
              <a:ext cx="2513" cy="529"/>
            </a:xfrm>
            <a:custGeom>
              <a:avLst/>
              <a:gdLst>
                <a:gd name="T0" fmla="*/ 266 w 633"/>
                <a:gd name="T1" fmla="*/ 100 h 133"/>
                <a:gd name="T2" fmla="*/ 233 w 633"/>
                <a:gd name="T3" fmla="*/ 66 h 133"/>
                <a:gd name="T4" fmla="*/ 266 w 633"/>
                <a:gd name="T5" fmla="*/ 33 h 133"/>
                <a:gd name="T6" fmla="*/ 300 w 633"/>
                <a:gd name="T7" fmla="*/ 66 h 133"/>
                <a:gd name="T8" fmla="*/ 266 w 633"/>
                <a:gd name="T9" fmla="*/ 100 h 133"/>
                <a:gd name="T10" fmla="*/ 166 w 633"/>
                <a:gd name="T11" fmla="*/ 100 h 133"/>
                <a:gd name="T12" fmla="*/ 133 w 633"/>
                <a:gd name="T13" fmla="*/ 66 h 133"/>
                <a:gd name="T14" fmla="*/ 166 w 633"/>
                <a:gd name="T15" fmla="*/ 33 h 133"/>
                <a:gd name="T16" fmla="*/ 200 w 633"/>
                <a:gd name="T17" fmla="*/ 66 h 133"/>
                <a:gd name="T18" fmla="*/ 166 w 633"/>
                <a:gd name="T19" fmla="*/ 100 h 133"/>
                <a:gd name="T20" fmla="*/ 66 w 633"/>
                <a:gd name="T21" fmla="*/ 100 h 133"/>
                <a:gd name="T22" fmla="*/ 33 w 633"/>
                <a:gd name="T23" fmla="*/ 66 h 133"/>
                <a:gd name="T24" fmla="*/ 66 w 633"/>
                <a:gd name="T25" fmla="*/ 33 h 133"/>
                <a:gd name="T26" fmla="*/ 100 w 633"/>
                <a:gd name="T27" fmla="*/ 66 h 133"/>
                <a:gd name="T28" fmla="*/ 66 w 633"/>
                <a:gd name="T29" fmla="*/ 100 h 133"/>
                <a:gd name="T30" fmla="*/ 583 w 633"/>
                <a:gd name="T31" fmla="*/ 0 h 133"/>
                <a:gd name="T32" fmla="*/ 50 w 633"/>
                <a:gd name="T33" fmla="*/ 0 h 133"/>
                <a:gd name="T34" fmla="*/ 0 w 633"/>
                <a:gd name="T35" fmla="*/ 50 h 133"/>
                <a:gd name="T36" fmla="*/ 0 w 633"/>
                <a:gd name="T37" fmla="*/ 133 h 133"/>
                <a:gd name="T38" fmla="*/ 633 w 633"/>
                <a:gd name="T39" fmla="*/ 133 h 133"/>
                <a:gd name="T40" fmla="*/ 633 w 633"/>
                <a:gd name="T41" fmla="*/ 50 h 133"/>
                <a:gd name="T42" fmla="*/ 583 w 633"/>
                <a:gd name="T43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3" h="133">
                  <a:moveTo>
                    <a:pt x="266" y="100"/>
                  </a:moveTo>
                  <a:cubicBezTo>
                    <a:pt x="248" y="100"/>
                    <a:pt x="233" y="85"/>
                    <a:pt x="233" y="66"/>
                  </a:cubicBezTo>
                  <a:cubicBezTo>
                    <a:pt x="233" y="48"/>
                    <a:pt x="248" y="33"/>
                    <a:pt x="266" y="33"/>
                  </a:cubicBezTo>
                  <a:cubicBezTo>
                    <a:pt x="285" y="33"/>
                    <a:pt x="300" y="48"/>
                    <a:pt x="300" y="66"/>
                  </a:cubicBezTo>
                  <a:cubicBezTo>
                    <a:pt x="300" y="85"/>
                    <a:pt x="285" y="100"/>
                    <a:pt x="266" y="100"/>
                  </a:cubicBezTo>
                  <a:close/>
                  <a:moveTo>
                    <a:pt x="166" y="100"/>
                  </a:moveTo>
                  <a:cubicBezTo>
                    <a:pt x="148" y="100"/>
                    <a:pt x="133" y="85"/>
                    <a:pt x="133" y="66"/>
                  </a:cubicBezTo>
                  <a:cubicBezTo>
                    <a:pt x="133" y="48"/>
                    <a:pt x="148" y="33"/>
                    <a:pt x="166" y="33"/>
                  </a:cubicBezTo>
                  <a:cubicBezTo>
                    <a:pt x="185" y="33"/>
                    <a:pt x="200" y="48"/>
                    <a:pt x="200" y="66"/>
                  </a:cubicBezTo>
                  <a:cubicBezTo>
                    <a:pt x="200" y="85"/>
                    <a:pt x="185" y="100"/>
                    <a:pt x="166" y="100"/>
                  </a:cubicBezTo>
                  <a:close/>
                  <a:moveTo>
                    <a:pt x="66" y="100"/>
                  </a:moveTo>
                  <a:cubicBezTo>
                    <a:pt x="48" y="100"/>
                    <a:pt x="33" y="85"/>
                    <a:pt x="33" y="66"/>
                  </a:cubicBezTo>
                  <a:cubicBezTo>
                    <a:pt x="33" y="48"/>
                    <a:pt x="48" y="33"/>
                    <a:pt x="66" y="33"/>
                  </a:cubicBezTo>
                  <a:cubicBezTo>
                    <a:pt x="85" y="33"/>
                    <a:pt x="100" y="48"/>
                    <a:pt x="100" y="66"/>
                  </a:cubicBezTo>
                  <a:cubicBezTo>
                    <a:pt x="100" y="85"/>
                    <a:pt x="85" y="100"/>
                    <a:pt x="66" y="100"/>
                  </a:cubicBezTo>
                  <a:close/>
                  <a:moveTo>
                    <a:pt x="583" y="0"/>
                  </a:moveTo>
                  <a:lnTo>
                    <a:pt x="50" y="0"/>
                  </a:lnTo>
                  <a:cubicBezTo>
                    <a:pt x="22" y="0"/>
                    <a:pt x="0" y="22"/>
                    <a:pt x="0" y="50"/>
                  </a:cubicBezTo>
                  <a:lnTo>
                    <a:pt x="0" y="133"/>
                  </a:lnTo>
                  <a:lnTo>
                    <a:pt x="633" y="133"/>
                  </a:lnTo>
                  <a:lnTo>
                    <a:pt x="633" y="50"/>
                  </a:lnTo>
                  <a:cubicBezTo>
                    <a:pt x="633" y="22"/>
                    <a:pt x="611" y="0"/>
                    <a:pt x="58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1357718" y="2908371"/>
            <a:ext cx="13649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venient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6" name="Document2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1833187" y="3454047"/>
            <a:ext cx="414049" cy="542925"/>
            <a:chOff x="176" y="141"/>
            <a:chExt cx="151" cy="198"/>
          </a:xfrm>
          <a:solidFill>
            <a:schemeClr val="accent1"/>
          </a:solidFill>
        </p:grpSpPr>
        <p:sp>
          <p:nvSpPr>
            <p:cNvPr id="27" name="Document2"/>
            <p:cNvSpPr>
              <a:spLocks noEditPoints="1"/>
            </p:cNvSpPr>
            <p:nvPr>
              <p:custDataLst>
                <p:tags r:id="rId100"/>
              </p:custDataLst>
            </p:nvPr>
          </p:nvSpPr>
          <p:spPr bwMode="auto">
            <a:xfrm>
              <a:off x="176" y="141"/>
              <a:ext cx="151" cy="198"/>
            </a:xfrm>
            <a:custGeom>
              <a:avLst/>
              <a:gdLst>
                <a:gd name="T0" fmla="*/ 388 w 401"/>
                <a:gd name="T1" fmla="*/ 525 h 525"/>
                <a:gd name="T2" fmla="*/ 13 w 401"/>
                <a:gd name="T3" fmla="*/ 525 h 525"/>
                <a:gd name="T4" fmla="*/ 0 w 401"/>
                <a:gd name="T5" fmla="*/ 512 h 525"/>
                <a:gd name="T6" fmla="*/ 0 w 401"/>
                <a:gd name="T7" fmla="*/ 12 h 525"/>
                <a:gd name="T8" fmla="*/ 13 w 401"/>
                <a:gd name="T9" fmla="*/ 0 h 525"/>
                <a:gd name="T10" fmla="*/ 388 w 401"/>
                <a:gd name="T11" fmla="*/ 0 h 525"/>
                <a:gd name="T12" fmla="*/ 401 w 401"/>
                <a:gd name="T13" fmla="*/ 12 h 525"/>
                <a:gd name="T14" fmla="*/ 401 w 401"/>
                <a:gd name="T15" fmla="*/ 512 h 525"/>
                <a:gd name="T16" fmla="*/ 388 w 401"/>
                <a:gd name="T17" fmla="*/ 525 h 525"/>
                <a:gd name="T18" fmla="*/ 25 w 401"/>
                <a:gd name="T19" fmla="*/ 500 h 525"/>
                <a:gd name="T20" fmla="*/ 376 w 401"/>
                <a:gd name="T21" fmla="*/ 500 h 525"/>
                <a:gd name="T22" fmla="*/ 376 w 401"/>
                <a:gd name="T23" fmla="*/ 25 h 525"/>
                <a:gd name="T24" fmla="*/ 25 w 401"/>
                <a:gd name="T25" fmla="*/ 25 h 525"/>
                <a:gd name="T26" fmla="*/ 25 w 401"/>
                <a:gd name="T27" fmla="*/ 50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1" h="525">
                  <a:moveTo>
                    <a:pt x="388" y="525"/>
                  </a:moveTo>
                  <a:lnTo>
                    <a:pt x="13" y="525"/>
                  </a:lnTo>
                  <a:cubicBezTo>
                    <a:pt x="5" y="525"/>
                    <a:pt x="0" y="520"/>
                    <a:pt x="0" y="512"/>
                  </a:cubicBezTo>
                  <a:lnTo>
                    <a:pt x="0" y="12"/>
                  </a:lnTo>
                  <a:cubicBezTo>
                    <a:pt x="0" y="5"/>
                    <a:pt x="5" y="0"/>
                    <a:pt x="13" y="0"/>
                  </a:cubicBezTo>
                  <a:lnTo>
                    <a:pt x="388" y="0"/>
                  </a:lnTo>
                  <a:cubicBezTo>
                    <a:pt x="395" y="0"/>
                    <a:pt x="401" y="5"/>
                    <a:pt x="401" y="12"/>
                  </a:cubicBezTo>
                  <a:lnTo>
                    <a:pt x="401" y="512"/>
                  </a:lnTo>
                  <a:cubicBezTo>
                    <a:pt x="401" y="520"/>
                    <a:pt x="394" y="525"/>
                    <a:pt x="388" y="525"/>
                  </a:cubicBezTo>
                  <a:close/>
                  <a:moveTo>
                    <a:pt x="25" y="500"/>
                  </a:moveTo>
                  <a:lnTo>
                    <a:pt x="376" y="500"/>
                  </a:lnTo>
                  <a:lnTo>
                    <a:pt x="376" y="25"/>
                  </a:lnTo>
                  <a:lnTo>
                    <a:pt x="25" y="25"/>
                  </a:lnTo>
                  <a:lnTo>
                    <a:pt x="25" y="5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Document2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auto">
            <a:xfrm>
              <a:off x="205" y="239"/>
              <a:ext cx="94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Document2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auto">
            <a:xfrm>
              <a:off x="205" y="267"/>
              <a:ext cx="94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Document2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auto">
            <a:xfrm>
              <a:off x="205" y="295"/>
              <a:ext cx="94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Document2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auto">
            <a:xfrm>
              <a:off x="252" y="182"/>
              <a:ext cx="47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Document2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auto">
            <a:xfrm>
              <a:off x="252" y="211"/>
              <a:ext cx="47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Document2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206" y="182"/>
              <a:ext cx="36" cy="37"/>
            </a:xfrm>
            <a:custGeom>
              <a:avLst/>
              <a:gdLst>
                <a:gd name="T0" fmla="*/ 49 w 98"/>
                <a:gd name="T1" fmla="*/ 97 h 97"/>
                <a:gd name="T2" fmla="*/ 49 w 98"/>
                <a:gd name="T3" fmla="*/ 97 h 97"/>
                <a:gd name="T4" fmla="*/ 0 w 98"/>
                <a:gd name="T5" fmla="*/ 48 h 97"/>
                <a:gd name="T6" fmla="*/ 0 w 98"/>
                <a:gd name="T7" fmla="*/ 48 h 97"/>
                <a:gd name="T8" fmla="*/ 49 w 98"/>
                <a:gd name="T9" fmla="*/ 0 h 97"/>
                <a:gd name="T10" fmla="*/ 49 w 98"/>
                <a:gd name="T11" fmla="*/ 0 h 97"/>
                <a:gd name="T12" fmla="*/ 98 w 98"/>
                <a:gd name="T13" fmla="*/ 48 h 97"/>
                <a:gd name="T14" fmla="*/ 98 w 98"/>
                <a:gd name="T15" fmla="*/ 48 h 97"/>
                <a:gd name="T16" fmla="*/ 49 w 98"/>
                <a:gd name="T1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97">
                  <a:moveTo>
                    <a:pt x="49" y="97"/>
                  </a:moveTo>
                  <a:lnTo>
                    <a:pt x="49" y="97"/>
                  </a:lnTo>
                  <a:cubicBezTo>
                    <a:pt x="22" y="97"/>
                    <a:pt x="0" y="75"/>
                    <a:pt x="0" y="48"/>
                  </a:cubicBezTo>
                  <a:lnTo>
                    <a:pt x="0" y="48"/>
                  </a:lnTo>
                  <a:cubicBezTo>
                    <a:pt x="0" y="21"/>
                    <a:pt x="23" y="0"/>
                    <a:pt x="49" y="0"/>
                  </a:cubicBezTo>
                  <a:lnTo>
                    <a:pt x="49" y="0"/>
                  </a:lnTo>
                  <a:cubicBezTo>
                    <a:pt x="77" y="0"/>
                    <a:pt x="98" y="22"/>
                    <a:pt x="98" y="48"/>
                  </a:cubicBezTo>
                  <a:lnTo>
                    <a:pt x="98" y="48"/>
                  </a:lnTo>
                  <a:cubicBezTo>
                    <a:pt x="98" y="76"/>
                    <a:pt x="77" y="97"/>
                    <a:pt x="49" y="9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35" name="Straight Connector 34"/>
          <p:cNvCxnSpPr/>
          <p:nvPr/>
        </p:nvCxnSpPr>
        <p:spPr>
          <a:xfrm>
            <a:off x="6518366" y="88900"/>
            <a:ext cx="0" cy="676910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6" name="Lightning Bolt 35"/>
          <p:cNvSpPr/>
          <p:nvPr/>
        </p:nvSpPr>
        <p:spPr>
          <a:xfrm>
            <a:off x="6257109" y="792461"/>
            <a:ext cx="548640" cy="888423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1" name="Document2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6324404" y="1085859"/>
            <a:ext cx="414049" cy="542925"/>
            <a:chOff x="176" y="141"/>
            <a:chExt cx="151" cy="198"/>
          </a:xfrm>
          <a:solidFill>
            <a:schemeClr val="accent1"/>
          </a:solidFill>
        </p:grpSpPr>
        <p:sp>
          <p:nvSpPr>
            <p:cNvPr id="62" name="Document2"/>
            <p:cNvSpPr>
              <a:spLocks noEditPoints="1"/>
            </p:cNvSpPr>
            <p:nvPr>
              <p:custDataLst>
                <p:tags r:id="rId93"/>
              </p:custDataLst>
            </p:nvPr>
          </p:nvSpPr>
          <p:spPr bwMode="auto">
            <a:xfrm>
              <a:off x="176" y="141"/>
              <a:ext cx="151" cy="198"/>
            </a:xfrm>
            <a:custGeom>
              <a:avLst/>
              <a:gdLst>
                <a:gd name="T0" fmla="*/ 388 w 401"/>
                <a:gd name="T1" fmla="*/ 525 h 525"/>
                <a:gd name="T2" fmla="*/ 13 w 401"/>
                <a:gd name="T3" fmla="*/ 525 h 525"/>
                <a:gd name="T4" fmla="*/ 0 w 401"/>
                <a:gd name="T5" fmla="*/ 512 h 525"/>
                <a:gd name="T6" fmla="*/ 0 w 401"/>
                <a:gd name="T7" fmla="*/ 12 h 525"/>
                <a:gd name="T8" fmla="*/ 13 w 401"/>
                <a:gd name="T9" fmla="*/ 0 h 525"/>
                <a:gd name="T10" fmla="*/ 388 w 401"/>
                <a:gd name="T11" fmla="*/ 0 h 525"/>
                <a:gd name="T12" fmla="*/ 401 w 401"/>
                <a:gd name="T13" fmla="*/ 12 h 525"/>
                <a:gd name="T14" fmla="*/ 401 w 401"/>
                <a:gd name="T15" fmla="*/ 512 h 525"/>
                <a:gd name="T16" fmla="*/ 388 w 401"/>
                <a:gd name="T17" fmla="*/ 525 h 525"/>
                <a:gd name="T18" fmla="*/ 25 w 401"/>
                <a:gd name="T19" fmla="*/ 500 h 525"/>
                <a:gd name="T20" fmla="*/ 376 w 401"/>
                <a:gd name="T21" fmla="*/ 500 h 525"/>
                <a:gd name="T22" fmla="*/ 376 w 401"/>
                <a:gd name="T23" fmla="*/ 25 h 525"/>
                <a:gd name="T24" fmla="*/ 25 w 401"/>
                <a:gd name="T25" fmla="*/ 25 h 525"/>
                <a:gd name="T26" fmla="*/ 25 w 401"/>
                <a:gd name="T27" fmla="*/ 50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1" h="525">
                  <a:moveTo>
                    <a:pt x="388" y="525"/>
                  </a:moveTo>
                  <a:lnTo>
                    <a:pt x="13" y="525"/>
                  </a:lnTo>
                  <a:cubicBezTo>
                    <a:pt x="5" y="525"/>
                    <a:pt x="0" y="520"/>
                    <a:pt x="0" y="512"/>
                  </a:cubicBezTo>
                  <a:lnTo>
                    <a:pt x="0" y="12"/>
                  </a:lnTo>
                  <a:cubicBezTo>
                    <a:pt x="0" y="5"/>
                    <a:pt x="5" y="0"/>
                    <a:pt x="13" y="0"/>
                  </a:cubicBezTo>
                  <a:lnTo>
                    <a:pt x="388" y="0"/>
                  </a:lnTo>
                  <a:cubicBezTo>
                    <a:pt x="395" y="0"/>
                    <a:pt x="401" y="5"/>
                    <a:pt x="401" y="12"/>
                  </a:cubicBezTo>
                  <a:lnTo>
                    <a:pt x="401" y="512"/>
                  </a:lnTo>
                  <a:cubicBezTo>
                    <a:pt x="401" y="520"/>
                    <a:pt x="394" y="525"/>
                    <a:pt x="388" y="525"/>
                  </a:cubicBezTo>
                  <a:close/>
                  <a:moveTo>
                    <a:pt x="25" y="500"/>
                  </a:moveTo>
                  <a:lnTo>
                    <a:pt x="376" y="500"/>
                  </a:lnTo>
                  <a:lnTo>
                    <a:pt x="376" y="25"/>
                  </a:lnTo>
                  <a:lnTo>
                    <a:pt x="25" y="25"/>
                  </a:lnTo>
                  <a:lnTo>
                    <a:pt x="25" y="5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Document2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auto">
            <a:xfrm>
              <a:off x="205" y="239"/>
              <a:ext cx="94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Document2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auto">
            <a:xfrm>
              <a:off x="205" y="267"/>
              <a:ext cx="94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Document2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auto">
            <a:xfrm>
              <a:off x="205" y="295"/>
              <a:ext cx="94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Document2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auto">
            <a:xfrm>
              <a:off x="252" y="182"/>
              <a:ext cx="47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Document2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auto">
            <a:xfrm>
              <a:off x="252" y="211"/>
              <a:ext cx="47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Document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206" y="182"/>
              <a:ext cx="36" cy="37"/>
            </a:xfrm>
            <a:custGeom>
              <a:avLst/>
              <a:gdLst>
                <a:gd name="T0" fmla="*/ 49 w 98"/>
                <a:gd name="T1" fmla="*/ 97 h 97"/>
                <a:gd name="T2" fmla="*/ 49 w 98"/>
                <a:gd name="T3" fmla="*/ 97 h 97"/>
                <a:gd name="T4" fmla="*/ 0 w 98"/>
                <a:gd name="T5" fmla="*/ 48 h 97"/>
                <a:gd name="T6" fmla="*/ 0 w 98"/>
                <a:gd name="T7" fmla="*/ 48 h 97"/>
                <a:gd name="T8" fmla="*/ 49 w 98"/>
                <a:gd name="T9" fmla="*/ 0 h 97"/>
                <a:gd name="T10" fmla="*/ 49 w 98"/>
                <a:gd name="T11" fmla="*/ 0 h 97"/>
                <a:gd name="T12" fmla="*/ 98 w 98"/>
                <a:gd name="T13" fmla="*/ 48 h 97"/>
                <a:gd name="T14" fmla="*/ 98 w 98"/>
                <a:gd name="T15" fmla="*/ 48 h 97"/>
                <a:gd name="T16" fmla="*/ 49 w 98"/>
                <a:gd name="T1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97">
                  <a:moveTo>
                    <a:pt x="49" y="97"/>
                  </a:moveTo>
                  <a:lnTo>
                    <a:pt x="49" y="97"/>
                  </a:lnTo>
                  <a:cubicBezTo>
                    <a:pt x="22" y="97"/>
                    <a:pt x="0" y="75"/>
                    <a:pt x="0" y="48"/>
                  </a:cubicBezTo>
                  <a:lnTo>
                    <a:pt x="0" y="48"/>
                  </a:lnTo>
                  <a:cubicBezTo>
                    <a:pt x="0" y="21"/>
                    <a:pt x="23" y="0"/>
                    <a:pt x="49" y="0"/>
                  </a:cubicBezTo>
                  <a:lnTo>
                    <a:pt x="49" y="0"/>
                  </a:lnTo>
                  <a:cubicBezTo>
                    <a:pt x="77" y="0"/>
                    <a:pt x="98" y="22"/>
                    <a:pt x="98" y="48"/>
                  </a:cubicBezTo>
                  <a:lnTo>
                    <a:pt x="98" y="48"/>
                  </a:lnTo>
                  <a:cubicBezTo>
                    <a:pt x="98" y="76"/>
                    <a:pt x="77" y="97"/>
                    <a:pt x="49" y="9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7" name="Document2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6320048" y="1081503"/>
            <a:ext cx="414049" cy="542925"/>
            <a:chOff x="176" y="141"/>
            <a:chExt cx="151" cy="198"/>
          </a:xfrm>
          <a:solidFill>
            <a:schemeClr val="accent1"/>
          </a:solidFill>
        </p:grpSpPr>
        <p:sp>
          <p:nvSpPr>
            <p:cNvPr id="78" name="Document2"/>
            <p:cNvSpPr>
              <a:spLocks noEditPoints="1"/>
            </p:cNvSpPr>
            <p:nvPr>
              <p:custDataLst>
                <p:tags r:id="rId86"/>
              </p:custDataLst>
            </p:nvPr>
          </p:nvSpPr>
          <p:spPr bwMode="auto">
            <a:xfrm>
              <a:off x="176" y="141"/>
              <a:ext cx="151" cy="198"/>
            </a:xfrm>
            <a:custGeom>
              <a:avLst/>
              <a:gdLst>
                <a:gd name="T0" fmla="*/ 388 w 401"/>
                <a:gd name="T1" fmla="*/ 525 h 525"/>
                <a:gd name="T2" fmla="*/ 13 w 401"/>
                <a:gd name="T3" fmla="*/ 525 h 525"/>
                <a:gd name="T4" fmla="*/ 0 w 401"/>
                <a:gd name="T5" fmla="*/ 512 h 525"/>
                <a:gd name="T6" fmla="*/ 0 w 401"/>
                <a:gd name="T7" fmla="*/ 12 h 525"/>
                <a:gd name="T8" fmla="*/ 13 w 401"/>
                <a:gd name="T9" fmla="*/ 0 h 525"/>
                <a:gd name="T10" fmla="*/ 388 w 401"/>
                <a:gd name="T11" fmla="*/ 0 h 525"/>
                <a:gd name="T12" fmla="*/ 401 w 401"/>
                <a:gd name="T13" fmla="*/ 12 h 525"/>
                <a:gd name="T14" fmla="*/ 401 w 401"/>
                <a:gd name="T15" fmla="*/ 512 h 525"/>
                <a:gd name="T16" fmla="*/ 388 w 401"/>
                <a:gd name="T17" fmla="*/ 525 h 525"/>
                <a:gd name="T18" fmla="*/ 25 w 401"/>
                <a:gd name="T19" fmla="*/ 500 h 525"/>
                <a:gd name="T20" fmla="*/ 376 w 401"/>
                <a:gd name="T21" fmla="*/ 500 h 525"/>
                <a:gd name="T22" fmla="*/ 376 w 401"/>
                <a:gd name="T23" fmla="*/ 25 h 525"/>
                <a:gd name="T24" fmla="*/ 25 w 401"/>
                <a:gd name="T25" fmla="*/ 25 h 525"/>
                <a:gd name="T26" fmla="*/ 25 w 401"/>
                <a:gd name="T27" fmla="*/ 50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1" h="525">
                  <a:moveTo>
                    <a:pt x="388" y="525"/>
                  </a:moveTo>
                  <a:lnTo>
                    <a:pt x="13" y="525"/>
                  </a:lnTo>
                  <a:cubicBezTo>
                    <a:pt x="5" y="525"/>
                    <a:pt x="0" y="520"/>
                    <a:pt x="0" y="512"/>
                  </a:cubicBezTo>
                  <a:lnTo>
                    <a:pt x="0" y="12"/>
                  </a:lnTo>
                  <a:cubicBezTo>
                    <a:pt x="0" y="5"/>
                    <a:pt x="5" y="0"/>
                    <a:pt x="13" y="0"/>
                  </a:cubicBezTo>
                  <a:lnTo>
                    <a:pt x="388" y="0"/>
                  </a:lnTo>
                  <a:cubicBezTo>
                    <a:pt x="395" y="0"/>
                    <a:pt x="401" y="5"/>
                    <a:pt x="401" y="12"/>
                  </a:cubicBezTo>
                  <a:lnTo>
                    <a:pt x="401" y="512"/>
                  </a:lnTo>
                  <a:cubicBezTo>
                    <a:pt x="401" y="520"/>
                    <a:pt x="394" y="525"/>
                    <a:pt x="388" y="525"/>
                  </a:cubicBezTo>
                  <a:close/>
                  <a:moveTo>
                    <a:pt x="25" y="500"/>
                  </a:moveTo>
                  <a:lnTo>
                    <a:pt x="376" y="500"/>
                  </a:lnTo>
                  <a:lnTo>
                    <a:pt x="376" y="25"/>
                  </a:lnTo>
                  <a:lnTo>
                    <a:pt x="25" y="25"/>
                  </a:lnTo>
                  <a:lnTo>
                    <a:pt x="25" y="5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Document2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auto">
            <a:xfrm>
              <a:off x="205" y="239"/>
              <a:ext cx="94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Document2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auto">
            <a:xfrm>
              <a:off x="205" y="267"/>
              <a:ext cx="94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Document2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auto">
            <a:xfrm>
              <a:off x="205" y="295"/>
              <a:ext cx="94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Document2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auto">
            <a:xfrm>
              <a:off x="252" y="182"/>
              <a:ext cx="47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Document2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auto">
            <a:xfrm>
              <a:off x="252" y="211"/>
              <a:ext cx="47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Document2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206" y="182"/>
              <a:ext cx="36" cy="37"/>
            </a:xfrm>
            <a:custGeom>
              <a:avLst/>
              <a:gdLst>
                <a:gd name="T0" fmla="*/ 49 w 98"/>
                <a:gd name="T1" fmla="*/ 97 h 97"/>
                <a:gd name="T2" fmla="*/ 49 w 98"/>
                <a:gd name="T3" fmla="*/ 97 h 97"/>
                <a:gd name="T4" fmla="*/ 0 w 98"/>
                <a:gd name="T5" fmla="*/ 48 h 97"/>
                <a:gd name="T6" fmla="*/ 0 w 98"/>
                <a:gd name="T7" fmla="*/ 48 h 97"/>
                <a:gd name="T8" fmla="*/ 49 w 98"/>
                <a:gd name="T9" fmla="*/ 0 h 97"/>
                <a:gd name="T10" fmla="*/ 49 w 98"/>
                <a:gd name="T11" fmla="*/ 0 h 97"/>
                <a:gd name="T12" fmla="*/ 98 w 98"/>
                <a:gd name="T13" fmla="*/ 48 h 97"/>
                <a:gd name="T14" fmla="*/ 98 w 98"/>
                <a:gd name="T15" fmla="*/ 48 h 97"/>
                <a:gd name="T16" fmla="*/ 49 w 98"/>
                <a:gd name="T1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97">
                  <a:moveTo>
                    <a:pt x="49" y="97"/>
                  </a:moveTo>
                  <a:lnTo>
                    <a:pt x="49" y="97"/>
                  </a:lnTo>
                  <a:cubicBezTo>
                    <a:pt x="22" y="97"/>
                    <a:pt x="0" y="75"/>
                    <a:pt x="0" y="48"/>
                  </a:cubicBezTo>
                  <a:lnTo>
                    <a:pt x="0" y="48"/>
                  </a:lnTo>
                  <a:cubicBezTo>
                    <a:pt x="0" y="21"/>
                    <a:pt x="23" y="0"/>
                    <a:pt x="49" y="0"/>
                  </a:cubicBezTo>
                  <a:lnTo>
                    <a:pt x="49" y="0"/>
                  </a:lnTo>
                  <a:cubicBezTo>
                    <a:pt x="77" y="0"/>
                    <a:pt x="98" y="22"/>
                    <a:pt x="98" y="48"/>
                  </a:cubicBezTo>
                  <a:lnTo>
                    <a:pt x="98" y="48"/>
                  </a:lnTo>
                  <a:cubicBezTo>
                    <a:pt x="98" y="76"/>
                    <a:pt x="77" y="97"/>
                    <a:pt x="49" y="9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5" name="Document2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6315695" y="1077149"/>
            <a:ext cx="414049" cy="542925"/>
            <a:chOff x="176" y="141"/>
            <a:chExt cx="151" cy="198"/>
          </a:xfrm>
          <a:solidFill>
            <a:schemeClr val="accent1"/>
          </a:solidFill>
        </p:grpSpPr>
        <p:sp>
          <p:nvSpPr>
            <p:cNvPr id="86" name="Document2"/>
            <p:cNvSpPr>
              <a:spLocks noEditPoints="1"/>
            </p:cNvSpPr>
            <p:nvPr>
              <p:custDataLst>
                <p:tags r:id="rId79"/>
              </p:custDataLst>
            </p:nvPr>
          </p:nvSpPr>
          <p:spPr bwMode="auto">
            <a:xfrm>
              <a:off x="176" y="141"/>
              <a:ext cx="151" cy="198"/>
            </a:xfrm>
            <a:custGeom>
              <a:avLst/>
              <a:gdLst>
                <a:gd name="T0" fmla="*/ 388 w 401"/>
                <a:gd name="T1" fmla="*/ 525 h 525"/>
                <a:gd name="T2" fmla="*/ 13 w 401"/>
                <a:gd name="T3" fmla="*/ 525 h 525"/>
                <a:gd name="T4" fmla="*/ 0 w 401"/>
                <a:gd name="T5" fmla="*/ 512 h 525"/>
                <a:gd name="T6" fmla="*/ 0 w 401"/>
                <a:gd name="T7" fmla="*/ 12 h 525"/>
                <a:gd name="T8" fmla="*/ 13 w 401"/>
                <a:gd name="T9" fmla="*/ 0 h 525"/>
                <a:gd name="T10" fmla="*/ 388 w 401"/>
                <a:gd name="T11" fmla="*/ 0 h 525"/>
                <a:gd name="T12" fmla="*/ 401 w 401"/>
                <a:gd name="T13" fmla="*/ 12 h 525"/>
                <a:gd name="T14" fmla="*/ 401 w 401"/>
                <a:gd name="T15" fmla="*/ 512 h 525"/>
                <a:gd name="T16" fmla="*/ 388 w 401"/>
                <a:gd name="T17" fmla="*/ 525 h 525"/>
                <a:gd name="T18" fmla="*/ 25 w 401"/>
                <a:gd name="T19" fmla="*/ 500 h 525"/>
                <a:gd name="T20" fmla="*/ 376 w 401"/>
                <a:gd name="T21" fmla="*/ 500 h 525"/>
                <a:gd name="T22" fmla="*/ 376 w 401"/>
                <a:gd name="T23" fmla="*/ 25 h 525"/>
                <a:gd name="T24" fmla="*/ 25 w 401"/>
                <a:gd name="T25" fmla="*/ 25 h 525"/>
                <a:gd name="T26" fmla="*/ 25 w 401"/>
                <a:gd name="T27" fmla="*/ 50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1" h="525">
                  <a:moveTo>
                    <a:pt x="388" y="525"/>
                  </a:moveTo>
                  <a:lnTo>
                    <a:pt x="13" y="525"/>
                  </a:lnTo>
                  <a:cubicBezTo>
                    <a:pt x="5" y="525"/>
                    <a:pt x="0" y="520"/>
                    <a:pt x="0" y="512"/>
                  </a:cubicBezTo>
                  <a:lnTo>
                    <a:pt x="0" y="12"/>
                  </a:lnTo>
                  <a:cubicBezTo>
                    <a:pt x="0" y="5"/>
                    <a:pt x="5" y="0"/>
                    <a:pt x="13" y="0"/>
                  </a:cubicBezTo>
                  <a:lnTo>
                    <a:pt x="388" y="0"/>
                  </a:lnTo>
                  <a:cubicBezTo>
                    <a:pt x="395" y="0"/>
                    <a:pt x="401" y="5"/>
                    <a:pt x="401" y="12"/>
                  </a:cubicBezTo>
                  <a:lnTo>
                    <a:pt x="401" y="512"/>
                  </a:lnTo>
                  <a:cubicBezTo>
                    <a:pt x="401" y="520"/>
                    <a:pt x="394" y="525"/>
                    <a:pt x="388" y="525"/>
                  </a:cubicBezTo>
                  <a:close/>
                  <a:moveTo>
                    <a:pt x="25" y="500"/>
                  </a:moveTo>
                  <a:lnTo>
                    <a:pt x="376" y="500"/>
                  </a:lnTo>
                  <a:lnTo>
                    <a:pt x="376" y="25"/>
                  </a:lnTo>
                  <a:lnTo>
                    <a:pt x="25" y="25"/>
                  </a:lnTo>
                  <a:lnTo>
                    <a:pt x="25" y="5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Document2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auto">
            <a:xfrm>
              <a:off x="205" y="239"/>
              <a:ext cx="94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Document2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auto">
            <a:xfrm>
              <a:off x="205" y="267"/>
              <a:ext cx="94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Document2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auto">
            <a:xfrm>
              <a:off x="205" y="295"/>
              <a:ext cx="94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Document2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auto">
            <a:xfrm>
              <a:off x="252" y="182"/>
              <a:ext cx="47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Document2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auto">
            <a:xfrm>
              <a:off x="252" y="211"/>
              <a:ext cx="47" cy="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Document2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206" y="182"/>
              <a:ext cx="36" cy="37"/>
            </a:xfrm>
            <a:custGeom>
              <a:avLst/>
              <a:gdLst>
                <a:gd name="T0" fmla="*/ 49 w 98"/>
                <a:gd name="T1" fmla="*/ 97 h 97"/>
                <a:gd name="T2" fmla="*/ 49 w 98"/>
                <a:gd name="T3" fmla="*/ 97 h 97"/>
                <a:gd name="T4" fmla="*/ 0 w 98"/>
                <a:gd name="T5" fmla="*/ 48 h 97"/>
                <a:gd name="T6" fmla="*/ 0 w 98"/>
                <a:gd name="T7" fmla="*/ 48 h 97"/>
                <a:gd name="T8" fmla="*/ 49 w 98"/>
                <a:gd name="T9" fmla="*/ 0 h 97"/>
                <a:gd name="T10" fmla="*/ 49 w 98"/>
                <a:gd name="T11" fmla="*/ 0 h 97"/>
                <a:gd name="T12" fmla="*/ 98 w 98"/>
                <a:gd name="T13" fmla="*/ 48 h 97"/>
                <a:gd name="T14" fmla="*/ 98 w 98"/>
                <a:gd name="T15" fmla="*/ 48 h 97"/>
                <a:gd name="T16" fmla="*/ 49 w 98"/>
                <a:gd name="T1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97">
                  <a:moveTo>
                    <a:pt x="49" y="97"/>
                  </a:moveTo>
                  <a:lnTo>
                    <a:pt x="49" y="97"/>
                  </a:lnTo>
                  <a:cubicBezTo>
                    <a:pt x="22" y="97"/>
                    <a:pt x="0" y="75"/>
                    <a:pt x="0" y="48"/>
                  </a:cubicBezTo>
                  <a:lnTo>
                    <a:pt x="0" y="48"/>
                  </a:lnTo>
                  <a:cubicBezTo>
                    <a:pt x="0" y="21"/>
                    <a:pt x="23" y="0"/>
                    <a:pt x="49" y="0"/>
                  </a:cubicBezTo>
                  <a:lnTo>
                    <a:pt x="49" y="0"/>
                  </a:lnTo>
                  <a:cubicBezTo>
                    <a:pt x="77" y="0"/>
                    <a:pt x="98" y="22"/>
                    <a:pt x="98" y="48"/>
                  </a:cubicBezTo>
                  <a:lnTo>
                    <a:pt x="98" y="48"/>
                  </a:lnTo>
                  <a:cubicBezTo>
                    <a:pt x="98" y="76"/>
                    <a:pt x="77" y="97"/>
                    <a:pt x="49" y="9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3" name="User2"/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10367388" y="340793"/>
            <a:ext cx="468039" cy="542925"/>
          </a:xfrm>
          <a:custGeom>
            <a:avLst/>
            <a:gdLst>
              <a:gd name="T0" fmla="*/ 856 w 866"/>
              <a:gd name="T1" fmla="*/ 815 h 1001"/>
              <a:gd name="T2" fmla="*/ 556 w 866"/>
              <a:gd name="T3" fmla="*/ 501 h 1001"/>
              <a:gd name="T4" fmla="*/ 653 w 866"/>
              <a:gd name="T5" fmla="*/ 241 h 1001"/>
              <a:gd name="T6" fmla="*/ 431 w 866"/>
              <a:gd name="T7" fmla="*/ 0 h 1001"/>
              <a:gd name="T8" fmla="*/ 209 w 866"/>
              <a:gd name="T9" fmla="*/ 241 h 1001"/>
              <a:gd name="T10" fmla="*/ 307 w 866"/>
              <a:gd name="T11" fmla="*/ 502 h 1001"/>
              <a:gd name="T12" fmla="*/ 10 w 866"/>
              <a:gd name="T13" fmla="*/ 815 h 1001"/>
              <a:gd name="T14" fmla="*/ 122 w 866"/>
              <a:gd name="T15" fmla="*/ 942 h 1001"/>
              <a:gd name="T16" fmla="*/ 426 w 866"/>
              <a:gd name="T17" fmla="*/ 1000 h 1001"/>
              <a:gd name="T18" fmla="*/ 734 w 866"/>
              <a:gd name="T19" fmla="*/ 947 h 1001"/>
              <a:gd name="T20" fmla="*/ 856 w 866"/>
              <a:gd name="T21" fmla="*/ 815 h 1001"/>
              <a:gd name="T22" fmla="*/ 470 w 866"/>
              <a:gd name="T23" fmla="*/ 631 h 1001"/>
              <a:gd name="T24" fmla="*/ 470 w 866"/>
              <a:gd name="T25" fmla="*/ 645 h 1001"/>
              <a:gd name="T26" fmla="*/ 456 w 866"/>
              <a:gd name="T27" fmla="*/ 668 h 1001"/>
              <a:gd name="T28" fmla="*/ 447 w 866"/>
              <a:gd name="T29" fmla="*/ 675 h 1001"/>
              <a:gd name="T30" fmla="*/ 445 w 866"/>
              <a:gd name="T31" fmla="*/ 675 h 1001"/>
              <a:gd name="T32" fmla="*/ 505 w 866"/>
              <a:gd name="T33" fmla="*/ 875 h 1001"/>
              <a:gd name="T34" fmla="*/ 429 w 866"/>
              <a:gd name="T35" fmla="*/ 907 h 1001"/>
              <a:gd name="T36" fmla="*/ 349 w 866"/>
              <a:gd name="T37" fmla="*/ 876 h 1001"/>
              <a:gd name="T38" fmla="*/ 411 w 866"/>
              <a:gd name="T39" fmla="*/ 674 h 1001"/>
              <a:gd name="T40" fmla="*/ 403 w 866"/>
              <a:gd name="T41" fmla="*/ 668 h 1001"/>
              <a:gd name="T42" fmla="*/ 389 w 866"/>
              <a:gd name="T43" fmla="*/ 645 h 1001"/>
              <a:gd name="T44" fmla="*/ 389 w 866"/>
              <a:gd name="T45" fmla="*/ 631 h 1001"/>
              <a:gd name="T46" fmla="*/ 396 w 866"/>
              <a:gd name="T47" fmla="*/ 622 h 1001"/>
              <a:gd name="T48" fmla="*/ 354 w 866"/>
              <a:gd name="T49" fmla="*/ 577 h 1001"/>
              <a:gd name="T50" fmla="*/ 430 w 866"/>
              <a:gd name="T51" fmla="*/ 597 h 1001"/>
              <a:gd name="T52" fmla="*/ 505 w 866"/>
              <a:gd name="T53" fmla="*/ 577 h 1001"/>
              <a:gd name="T54" fmla="*/ 463 w 866"/>
              <a:gd name="T55" fmla="*/ 622 h 1001"/>
              <a:gd name="T56" fmla="*/ 470 w 866"/>
              <a:gd name="T57" fmla="*/ 631 h 1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6" h="1001">
                <a:moveTo>
                  <a:pt x="856" y="815"/>
                </a:moveTo>
                <a:cubicBezTo>
                  <a:pt x="831" y="661"/>
                  <a:pt x="703" y="544"/>
                  <a:pt x="556" y="501"/>
                </a:cubicBezTo>
                <a:cubicBezTo>
                  <a:pt x="619" y="432"/>
                  <a:pt x="653" y="318"/>
                  <a:pt x="653" y="241"/>
                </a:cubicBezTo>
                <a:cubicBezTo>
                  <a:pt x="653" y="123"/>
                  <a:pt x="555" y="0"/>
                  <a:pt x="431" y="0"/>
                </a:cubicBezTo>
                <a:cubicBezTo>
                  <a:pt x="307" y="0"/>
                  <a:pt x="209" y="123"/>
                  <a:pt x="209" y="241"/>
                </a:cubicBezTo>
                <a:cubicBezTo>
                  <a:pt x="210" y="318"/>
                  <a:pt x="243" y="433"/>
                  <a:pt x="307" y="502"/>
                </a:cubicBezTo>
                <a:cubicBezTo>
                  <a:pt x="162" y="546"/>
                  <a:pt x="35" y="662"/>
                  <a:pt x="10" y="815"/>
                </a:cubicBezTo>
                <a:cubicBezTo>
                  <a:pt x="0" y="879"/>
                  <a:pt x="74" y="921"/>
                  <a:pt x="122" y="942"/>
                </a:cubicBezTo>
                <a:cubicBezTo>
                  <a:pt x="216" y="985"/>
                  <a:pt x="324" y="999"/>
                  <a:pt x="426" y="1000"/>
                </a:cubicBezTo>
                <a:cubicBezTo>
                  <a:pt x="529" y="1001"/>
                  <a:pt x="638" y="987"/>
                  <a:pt x="734" y="947"/>
                </a:cubicBezTo>
                <a:cubicBezTo>
                  <a:pt x="784" y="926"/>
                  <a:pt x="866" y="882"/>
                  <a:pt x="856" y="815"/>
                </a:cubicBezTo>
                <a:close/>
                <a:moveTo>
                  <a:pt x="470" y="631"/>
                </a:moveTo>
                <a:cubicBezTo>
                  <a:pt x="473" y="635"/>
                  <a:pt x="473" y="640"/>
                  <a:pt x="470" y="645"/>
                </a:cubicBezTo>
                <a:cubicBezTo>
                  <a:pt x="464" y="654"/>
                  <a:pt x="462" y="659"/>
                  <a:pt x="456" y="668"/>
                </a:cubicBezTo>
                <a:cubicBezTo>
                  <a:pt x="454" y="672"/>
                  <a:pt x="450" y="674"/>
                  <a:pt x="447" y="675"/>
                </a:cubicBezTo>
                <a:cubicBezTo>
                  <a:pt x="446" y="675"/>
                  <a:pt x="446" y="675"/>
                  <a:pt x="445" y="675"/>
                </a:cubicBezTo>
                <a:lnTo>
                  <a:pt x="505" y="875"/>
                </a:lnTo>
                <a:lnTo>
                  <a:pt x="429" y="907"/>
                </a:lnTo>
                <a:lnTo>
                  <a:pt x="349" y="876"/>
                </a:lnTo>
                <a:lnTo>
                  <a:pt x="411" y="674"/>
                </a:lnTo>
                <a:cubicBezTo>
                  <a:pt x="408" y="674"/>
                  <a:pt x="405" y="671"/>
                  <a:pt x="403" y="668"/>
                </a:cubicBezTo>
                <a:cubicBezTo>
                  <a:pt x="397" y="659"/>
                  <a:pt x="395" y="654"/>
                  <a:pt x="389" y="645"/>
                </a:cubicBezTo>
                <a:cubicBezTo>
                  <a:pt x="386" y="640"/>
                  <a:pt x="386" y="635"/>
                  <a:pt x="389" y="631"/>
                </a:cubicBezTo>
                <a:cubicBezTo>
                  <a:pt x="392" y="628"/>
                  <a:pt x="394" y="625"/>
                  <a:pt x="396" y="622"/>
                </a:cubicBezTo>
                <a:cubicBezTo>
                  <a:pt x="376" y="613"/>
                  <a:pt x="360" y="597"/>
                  <a:pt x="354" y="577"/>
                </a:cubicBezTo>
                <a:cubicBezTo>
                  <a:pt x="373" y="589"/>
                  <a:pt x="400" y="597"/>
                  <a:pt x="430" y="597"/>
                </a:cubicBezTo>
                <a:cubicBezTo>
                  <a:pt x="460" y="597"/>
                  <a:pt x="486" y="589"/>
                  <a:pt x="505" y="577"/>
                </a:cubicBezTo>
                <a:cubicBezTo>
                  <a:pt x="499" y="597"/>
                  <a:pt x="483" y="614"/>
                  <a:pt x="463" y="622"/>
                </a:cubicBezTo>
                <a:cubicBezTo>
                  <a:pt x="465" y="625"/>
                  <a:pt x="467" y="628"/>
                  <a:pt x="470" y="631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4" name="User2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10373321" y="1461520"/>
            <a:ext cx="468039" cy="542925"/>
          </a:xfrm>
          <a:custGeom>
            <a:avLst/>
            <a:gdLst>
              <a:gd name="T0" fmla="*/ 856 w 866"/>
              <a:gd name="T1" fmla="*/ 815 h 1001"/>
              <a:gd name="T2" fmla="*/ 556 w 866"/>
              <a:gd name="T3" fmla="*/ 501 h 1001"/>
              <a:gd name="T4" fmla="*/ 653 w 866"/>
              <a:gd name="T5" fmla="*/ 241 h 1001"/>
              <a:gd name="T6" fmla="*/ 431 w 866"/>
              <a:gd name="T7" fmla="*/ 0 h 1001"/>
              <a:gd name="T8" fmla="*/ 209 w 866"/>
              <a:gd name="T9" fmla="*/ 241 h 1001"/>
              <a:gd name="T10" fmla="*/ 307 w 866"/>
              <a:gd name="T11" fmla="*/ 502 h 1001"/>
              <a:gd name="T12" fmla="*/ 10 w 866"/>
              <a:gd name="T13" fmla="*/ 815 h 1001"/>
              <a:gd name="T14" fmla="*/ 122 w 866"/>
              <a:gd name="T15" fmla="*/ 942 h 1001"/>
              <a:gd name="T16" fmla="*/ 426 w 866"/>
              <a:gd name="T17" fmla="*/ 1000 h 1001"/>
              <a:gd name="T18" fmla="*/ 734 w 866"/>
              <a:gd name="T19" fmla="*/ 947 h 1001"/>
              <a:gd name="T20" fmla="*/ 856 w 866"/>
              <a:gd name="T21" fmla="*/ 815 h 1001"/>
              <a:gd name="T22" fmla="*/ 470 w 866"/>
              <a:gd name="T23" fmla="*/ 631 h 1001"/>
              <a:gd name="T24" fmla="*/ 470 w 866"/>
              <a:gd name="T25" fmla="*/ 645 h 1001"/>
              <a:gd name="T26" fmla="*/ 456 w 866"/>
              <a:gd name="T27" fmla="*/ 668 h 1001"/>
              <a:gd name="T28" fmla="*/ 447 w 866"/>
              <a:gd name="T29" fmla="*/ 675 h 1001"/>
              <a:gd name="T30" fmla="*/ 445 w 866"/>
              <a:gd name="T31" fmla="*/ 675 h 1001"/>
              <a:gd name="T32" fmla="*/ 505 w 866"/>
              <a:gd name="T33" fmla="*/ 875 h 1001"/>
              <a:gd name="T34" fmla="*/ 429 w 866"/>
              <a:gd name="T35" fmla="*/ 907 h 1001"/>
              <a:gd name="T36" fmla="*/ 349 w 866"/>
              <a:gd name="T37" fmla="*/ 876 h 1001"/>
              <a:gd name="T38" fmla="*/ 411 w 866"/>
              <a:gd name="T39" fmla="*/ 674 h 1001"/>
              <a:gd name="T40" fmla="*/ 403 w 866"/>
              <a:gd name="T41" fmla="*/ 668 h 1001"/>
              <a:gd name="T42" fmla="*/ 389 w 866"/>
              <a:gd name="T43" fmla="*/ 645 h 1001"/>
              <a:gd name="T44" fmla="*/ 389 w 866"/>
              <a:gd name="T45" fmla="*/ 631 h 1001"/>
              <a:gd name="T46" fmla="*/ 396 w 866"/>
              <a:gd name="T47" fmla="*/ 622 h 1001"/>
              <a:gd name="T48" fmla="*/ 354 w 866"/>
              <a:gd name="T49" fmla="*/ 577 h 1001"/>
              <a:gd name="T50" fmla="*/ 430 w 866"/>
              <a:gd name="T51" fmla="*/ 597 h 1001"/>
              <a:gd name="T52" fmla="*/ 505 w 866"/>
              <a:gd name="T53" fmla="*/ 577 h 1001"/>
              <a:gd name="T54" fmla="*/ 463 w 866"/>
              <a:gd name="T55" fmla="*/ 622 h 1001"/>
              <a:gd name="T56" fmla="*/ 470 w 866"/>
              <a:gd name="T57" fmla="*/ 631 h 1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6" h="1001">
                <a:moveTo>
                  <a:pt x="856" y="815"/>
                </a:moveTo>
                <a:cubicBezTo>
                  <a:pt x="831" y="661"/>
                  <a:pt x="703" y="544"/>
                  <a:pt x="556" y="501"/>
                </a:cubicBezTo>
                <a:cubicBezTo>
                  <a:pt x="619" y="432"/>
                  <a:pt x="653" y="318"/>
                  <a:pt x="653" y="241"/>
                </a:cubicBezTo>
                <a:cubicBezTo>
                  <a:pt x="653" y="123"/>
                  <a:pt x="555" y="0"/>
                  <a:pt x="431" y="0"/>
                </a:cubicBezTo>
                <a:cubicBezTo>
                  <a:pt x="307" y="0"/>
                  <a:pt x="209" y="123"/>
                  <a:pt x="209" y="241"/>
                </a:cubicBezTo>
                <a:cubicBezTo>
                  <a:pt x="210" y="318"/>
                  <a:pt x="243" y="433"/>
                  <a:pt x="307" y="502"/>
                </a:cubicBezTo>
                <a:cubicBezTo>
                  <a:pt x="162" y="546"/>
                  <a:pt x="35" y="662"/>
                  <a:pt x="10" y="815"/>
                </a:cubicBezTo>
                <a:cubicBezTo>
                  <a:pt x="0" y="879"/>
                  <a:pt x="74" y="921"/>
                  <a:pt x="122" y="942"/>
                </a:cubicBezTo>
                <a:cubicBezTo>
                  <a:pt x="216" y="985"/>
                  <a:pt x="324" y="999"/>
                  <a:pt x="426" y="1000"/>
                </a:cubicBezTo>
                <a:cubicBezTo>
                  <a:pt x="529" y="1001"/>
                  <a:pt x="638" y="987"/>
                  <a:pt x="734" y="947"/>
                </a:cubicBezTo>
                <a:cubicBezTo>
                  <a:pt x="784" y="926"/>
                  <a:pt x="866" y="882"/>
                  <a:pt x="856" y="815"/>
                </a:cubicBezTo>
                <a:close/>
                <a:moveTo>
                  <a:pt x="470" y="631"/>
                </a:moveTo>
                <a:cubicBezTo>
                  <a:pt x="473" y="635"/>
                  <a:pt x="473" y="640"/>
                  <a:pt x="470" y="645"/>
                </a:cubicBezTo>
                <a:cubicBezTo>
                  <a:pt x="464" y="654"/>
                  <a:pt x="462" y="659"/>
                  <a:pt x="456" y="668"/>
                </a:cubicBezTo>
                <a:cubicBezTo>
                  <a:pt x="454" y="672"/>
                  <a:pt x="450" y="674"/>
                  <a:pt x="447" y="675"/>
                </a:cubicBezTo>
                <a:cubicBezTo>
                  <a:pt x="446" y="675"/>
                  <a:pt x="446" y="675"/>
                  <a:pt x="445" y="675"/>
                </a:cubicBezTo>
                <a:lnTo>
                  <a:pt x="505" y="875"/>
                </a:lnTo>
                <a:lnTo>
                  <a:pt x="429" y="907"/>
                </a:lnTo>
                <a:lnTo>
                  <a:pt x="349" y="876"/>
                </a:lnTo>
                <a:lnTo>
                  <a:pt x="411" y="674"/>
                </a:lnTo>
                <a:cubicBezTo>
                  <a:pt x="408" y="674"/>
                  <a:pt x="405" y="671"/>
                  <a:pt x="403" y="668"/>
                </a:cubicBezTo>
                <a:cubicBezTo>
                  <a:pt x="397" y="659"/>
                  <a:pt x="395" y="654"/>
                  <a:pt x="389" y="645"/>
                </a:cubicBezTo>
                <a:cubicBezTo>
                  <a:pt x="386" y="640"/>
                  <a:pt x="386" y="635"/>
                  <a:pt x="389" y="631"/>
                </a:cubicBezTo>
                <a:cubicBezTo>
                  <a:pt x="392" y="628"/>
                  <a:pt x="394" y="625"/>
                  <a:pt x="396" y="622"/>
                </a:cubicBezTo>
                <a:cubicBezTo>
                  <a:pt x="376" y="613"/>
                  <a:pt x="360" y="597"/>
                  <a:pt x="354" y="577"/>
                </a:cubicBezTo>
                <a:cubicBezTo>
                  <a:pt x="373" y="589"/>
                  <a:pt x="400" y="597"/>
                  <a:pt x="430" y="597"/>
                </a:cubicBezTo>
                <a:cubicBezTo>
                  <a:pt x="460" y="597"/>
                  <a:pt x="486" y="589"/>
                  <a:pt x="505" y="577"/>
                </a:cubicBezTo>
                <a:cubicBezTo>
                  <a:pt x="499" y="597"/>
                  <a:pt x="483" y="614"/>
                  <a:pt x="463" y="622"/>
                </a:cubicBezTo>
                <a:cubicBezTo>
                  <a:pt x="465" y="625"/>
                  <a:pt x="467" y="628"/>
                  <a:pt x="470" y="631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5" name="User2"/>
          <p:cNvSpPr>
            <a:spLocks noChangeAspect="1" noEditPoints="1"/>
          </p:cNvSpPr>
          <p:nvPr>
            <p:custDataLst>
              <p:tags r:id="rId11"/>
            </p:custDataLst>
          </p:nvPr>
        </p:nvSpPr>
        <p:spPr bwMode="auto">
          <a:xfrm>
            <a:off x="10365718" y="2729755"/>
            <a:ext cx="468039" cy="542925"/>
          </a:xfrm>
          <a:custGeom>
            <a:avLst/>
            <a:gdLst>
              <a:gd name="T0" fmla="*/ 856 w 866"/>
              <a:gd name="T1" fmla="*/ 815 h 1001"/>
              <a:gd name="T2" fmla="*/ 556 w 866"/>
              <a:gd name="T3" fmla="*/ 501 h 1001"/>
              <a:gd name="T4" fmla="*/ 653 w 866"/>
              <a:gd name="T5" fmla="*/ 241 h 1001"/>
              <a:gd name="T6" fmla="*/ 431 w 866"/>
              <a:gd name="T7" fmla="*/ 0 h 1001"/>
              <a:gd name="T8" fmla="*/ 209 w 866"/>
              <a:gd name="T9" fmla="*/ 241 h 1001"/>
              <a:gd name="T10" fmla="*/ 307 w 866"/>
              <a:gd name="T11" fmla="*/ 502 h 1001"/>
              <a:gd name="T12" fmla="*/ 10 w 866"/>
              <a:gd name="T13" fmla="*/ 815 h 1001"/>
              <a:gd name="T14" fmla="*/ 122 w 866"/>
              <a:gd name="T15" fmla="*/ 942 h 1001"/>
              <a:gd name="T16" fmla="*/ 426 w 866"/>
              <a:gd name="T17" fmla="*/ 1000 h 1001"/>
              <a:gd name="T18" fmla="*/ 734 w 866"/>
              <a:gd name="T19" fmla="*/ 947 h 1001"/>
              <a:gd name="T20" fmla="*/ 856 w 866"/>
              <a:gd name="T21" fmla="*/ 815 h 1001"/>
              <a:gd name="T22" fmla="*/ 470 w 866"/>
              <a:gd name="T23" fmla="*/ 631 h 1001"/>
              <a:gd name="T24" fmla="*/ 470 w 866"/>
              <a:gd name="T25" fmla="*/ 645 h 1001"/>
              <a:gd name="T26" fmla="*/ 456 w 866"/>
              <a:gd name="T27" fmla="*/ 668 h 1001"/>
              <a:gd name="T28" fmla="*/ 447 w 866"/>
              <a:gd name="T29" fmla="*/ 675 h 1001"/>
              <a:gd name="T30" fmla="*/ 445 w 866"/>
              <a:gd name="T31" fmla="*/ 675 h 1001"/>
              <a:gd name="T32" fmla="*/ 505 w 866"/>
              <a:gd name="T33" fmla="*/ 875 h 1001"/>
              <a:gd name="T34" fmla="*/ 429 w 866"/>
              <a:gd name="T35" fmla="*/ 907 h 1001"/>
              <a:gd name="T36" fmla="*/ 349 w 866"/>
              <a:gd name="T37" fmla="*/ 876 h 1001"/>
              <a:gd name="T38" fmla="*/ 411 w 866"/>
              <a:gd name="T39" fmla="*/ 674 h 1001"/>
              <a:gd name="T40" fmla="*/ 403 w 866"/>
              <a:gd name="T41" fmla="*/ 668 h 1001"/>
              <a:gd name="T42" fmla="*/ 389 w 866"/>
              <a:gd name="T43" fmla="*/ 645 h 1001"/>
              <a:gd name="T44" fmla="*/ 389 w 866"/>
              <a:gd name="T45" fmla="*/ 631 h 1001"/>
              <a:gd name="T46" fmla="*/ 396 w 866"/>
              <a:gd name="T47" fmla="*/ 622 h 1001"/>
              <a:gd name="T48" fmla="*/ 354 w 866"/>
              <a:gd name="T49" fmla="*/ 577 h 1001"/>
              <a:gd name="T50" fmla="*/ 430 w 866"/>
              <a:gd name="T51" fmla="*/ 597 h 1001"/>
              <a:gd name="T52" fmla="*/ 505 w 866"/>
              <a:gd name="T53" fmla="*/ 577 h 1001"/>
              <a:gd name="T54" fmla="*/ 463 w 866"/>
              <a:gd name="T55" fmla="*/ 622 h 1001"/>
              <a:gd name="T56" fmla="*/ 470 w 866"/>
              <a:gd name="T57" fmla="*/ 631 h 1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6" h="1001">
                <a:moveTo>
                  <a:pt x="856" y="815"/>
                </a:moveTo>
                <a:cubicBezTo>
                  <a:pt x="831" y="661"/>
                  <a:pt x="703" y="544"/>
                  <a:pt x="556" y="501"/>
                </a:cubicBezTo>
                <a:cubicBezTo>
                  <a:pt x="619" y="432"/>
                  <a:pt x="653" y="318"/>
                  <a:pt x="653" y="241"/>
                </a:cubicBezTo>
                <a:cubicBezTo>
                  <a:pt x="653" y="123"/>
                  <a:pt x="555" y="0"/>
                  <a:pt x="431" y="0"/>
                </a:cubicBezTo>
                <a:cubicBezTo>
                  <a:pt x="307" y="0"/>
                  <a:pt x="209" y="123"/>
                  <a:pt x="209" y="241"/>
                </a:cubicBezTo>
                <a:cubicBezTo>
                  <a:pt x="210" y="318"/>
                  <a:pt x="243" y="433"/>
                  <a:pt x="307" y="502"/>
                </a:cubicBezTo>
                <a:cubicBezTo>
                  <a:pt x="162" y="546"/>
                  <a:pt x="35" y="662"/>
                  <a:pt x="10" y="815"/>
                </a:cubicBezTo>
                <a:cubicBezTo>
                  <a:pt x="0" y="879"/>
                  <a:pt x="74" y="921"/>
                  <a:pt x="122" y="942"/>
                </a:cubicBezTo>
                <a:cubicBezTo>
                  <a:pt x="216" y="985"/>
                  <a:pt x="324" y="999"/>
                  <a:pt x="426" y="1000"/>
                </a:cubicBezTo>
                <a:cubicBezTo>
                  <a:pt x="529" y="1001"/>
                  <a:pt x="638" y="987"/>
                  <a:pt x="734" y="947"/>
                </a:cubicBezTo>
                <a:cubicBezTo>
                  <a:pt x="784" y="926"/>
                  <a:pt x="866" y="882"/>
                  <a:pt x="856" y="815"/>
                </a:cubicBezTo>
                <a:close/>
                <a:moveTo>
                  <a:pt x="470" y="631"/>
                </a:moveTo>
                <a:cubicBezTo>
                  <a:pt x="473" y="635"/>
                  <a:pt x="473" y="640"/>
                  <a:pt x="470" y="645"/>
                </a:cubicBezTo>
                <a:cubicBezTo>
                  <a:pt x="464" y="654"/>
                  <a:pt x="462" y="659"/>
                  <a:pt x="456" y="668"/>
                </a:cubicBezTo>
                <a:cubicBezTo>
                  <a:pt x="454" y="672"/>
                  <a:pt x="450" y="674"/>
                  <a:pt x="447" y="675"/>
                </a:cubicBezTo>
                <a:cubicBezTo>
                  <a:pt x="446" y="675"/>
                  <a:pt x="446" y="675"/>
                  <a:pt x="445" y="675"/>
                </a:cubicBezTo>
                <a:lnTo>
                  <a:pt x="505" y="875"/>
                </a:lnTo>
                <a:lnTo>
                  <a:pt x="429" y="907"/>
                </a:lnTo>
                <a:lnTo>
                  <a:pt x="349" y="876"/>
                </a:lnTo>
                <a:lnTo>
                  <a:pt x="411" y="674"/>
                </a:lnTo>
                <a:cubicBezTo>
                  <a:pt x="408" y="674"/>
                  <a:pt x="405" y="671"/>
                  <a:pt x="403" y="668"/>
                </a:cubicBezTo>
                <a:cubicBezTo>
                  <a:pt x="397" y="659"/>
                  <a:pt x="395" y="654"/>
                  <a:pt x="389" y="645"/>
                </a:cubicBezTo>
                <a:cubicBezTo>
                  <a:pt x="386" y="640"/>
                  <a:pt x="386" y="635"/>
                  <a:pt x="389" y="631"/>
                </a:cubicBezTo>
                <a:cubicBezTo>
                  <a:pt x="392" y="628"/>
                  <a:pt x="394" y="625"/>
                  <a:pt x="396" y="622"/>
                </a:cubicBezTo>
                <a:cubicBezTo>
                  <a:pt x="376" y="613"/>
                  <a:pt x="360" y="597"/>
                  <a:pt x="354" y="577"/>
                </a:cubicBezTo>
                <a:cubicBezTo>
                  <a:pt x="373" y="589"/>
                  <a:pt x="400" y="597"/>
                  <a:pt x="430" y="597"/>
                </a:cubicBezTo>
                <a:cubicBezTo>
                  <a:pt x="460" y="597"/>
                  <a:pt x="486" y="589"/>
                  <a:pt x="505" y="577"/>
                </a:cubicBezTo>
                <a:cubicBezTo>
                  <a:pt x="499" y="597"/>
                  <a:pt x="483" y="614"/>
                  <a:pt x="463" y="622"/>
                </a:cubicBezTo>
                <a:cubicBezTo>
                  <a:pt x="465" y="625"/>
                  <a:pt x="467" y="628"/>
                  <a:pt x="470" y="631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2" name="Lightning Bolt 141"/>
          <p:cNvSpPr/>
          <p:nvPr/>
        </p:nvSpPr>
        <p:spPr>
          <a:xfrm>
            <a:off x="6278843" y="2792123"/>
            <a:ext cx="548640" cy="888423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4" name="Group 223"/>
          <p:cNvGrpSpPr/>
          <p:nvPr/>
        </p:nvGrpSpPr>
        <p:grpSpPr>
          <a:xfrm>
            <a:off x="11070215" y="357769"/>
            <a:ext cx="863547" cy="740074"/>
            <a:chOff x="10565911" y="2219026"/>
            <a:chExt cx="863547" cy="740074"/>
          </a:xfrm>
        </p:grpSpPr>
        <p:grpSp>
          <p:nvGrpSpPr>
            <p:cNvPr id="225" name="Group 224"/>
            <p:cNvGrpSpPr/>
            <p:nvPr/>
          </p:nvGrpSpPr>
          <p:grpSpPr>
            <a:xfrm>
              <a:off x="10565911" y="2219026"/>
              <a:ext cx="476656" cy="740074"/>
              <a:chOff x="7913883" y="3501752"/>
              <a:chExt cx="476656" cy="740074"/>
            </a:xfrm>
          </p:grpSpPr>
          <p:grpSp>
            <p:nvGrpSpPr>
              <p:cNvPr id="227" name="Document2"/>
              <p:cNvGrpSpPr>
                <a:grpSpLocks noChangeAspect="1"/>
              </p:cNvGrpSpPr>
              <p:nvPr>
                <p:custDataLst>
                  <p:tags r:id="rId70"/>
                </p:custDataLst>
              </p:nvPr>
            </p:nvGrpSpPr>
            <p:grpSpPr bwMode="auto">
              <a:xfrm>
                <a:off x="7913883" y="3501752"/>
                <a:ext cx="414049" cy="542925"/>
                <a:chOff x="176" y="141"/>
                <a:chExt cx="151" cy="198"/>
              </a:xfrm>
              <a:solidFill>
                <a:schemeClr val="accent1"/>
              </a:solidFill>
            </p:grpSpPr>
            <p:sp>
              <p:nvSpPr>
                <p:cNvPr id="232" name="Document2"/>
                <p:cNvSpPr>
                  <a:spLocks noEditPoints="1"/>
                </p:cNvSpPr>
                <p:nvPr>
                  <p:custDataLst>
                    <p:tags r:id="rId72"/>
                  </p:custDataLst>
                </p:nvPr>
              </p:nvSpPr>
              <p:spPr bwMode="auto">
                <a:xfrm>
                  <a:off x="176" y="141"/>
                  <a:ext cx="151" cy="198"/>
                </a:xfrm>
                <a:custGeom>
                  <a:avLst/>
                  <a:gdLst>
                    <a:gd name="T0" fmla="*/ 388 w 401"/>
                    <a:gd name="T1" fmla="*/ 525 h 525"/>
                    <a:gd name="T2" fmla="*/ 13 w 401"/>
                    <a:gd name="T3" fmla="*/ 525 h 525"/>
                    <a:gd name="T4" fmla="*/ 0 w 401"/>
                    <a:gd name="T5" fmla="*/ 512 h 525"/>
                    <a:gd name="T6" fmla="*/ 0 w 401"/>
                    <a:gd name="T7" fmla="*/ 12 h 525"/>
                    <a:gd name="T8" fmla="*/ 13 w 401"/>
                    <a:gd name="T9" fmla="*/ 0 h 525"/>
                    <a:gd name="T10" fmla="*/ 388 w 401"/>
                    <a:gd name="T11" fmla="*/ 0 h 525"/>
                    <a:gd name="T12" fmla="*/ 401 w 401"/>
                    <a:gd name="T13" fmla="*/ 12 h 525"/>
                    <a:gd name="T14" fmla="*/ 401 w 401"/>
                    <a:gd name="T15" fmla="*/ 512 h 525"/>
                    <a:gd name="T16" fmla="*/ 388 w 401"/>
                    <a:gd name="T17" fmla="*/ 525 h 525"/>
                    <a:gd name="T18" fmla="*/ 25 w 401"/>
                    <a:gd name="T19" fmla="*/ 500 h 525"/>
                    <a:gd name="T20" fmla="*/ 376 w 401"/>
                    <a:gd name="T21" fmla="*/ 500 h 525"/>
                    <a:gd name="T22" fmla="*/ 376 w 401"/>
                    <a:gd name="T23" fmla="*/ 25 h 525"/>
                    <a:gd name="T24" fmla="*/ 25 w 401"/>
                    <a:gd name="T25" fmla="*/ 25 h 525"/>
                    <a:gd name="T26" fmla="*/ 25 w 401"/>
                    <a:gd name="T27" fmla="*/ 500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1" h="525">
                      <a:moveTo>
                        <a:pt x="388" y="525"/>
                      </a:moveTo>
                      <a:lnTo>
                        <a:pt x="13" y="525"/>
                      </a:lnTo>
                      <a:cubicBezTo>
                        <a:pt x="5" y="525"/>
                        <a:pt x="0" y="520"/>
                        <a:pt x="0" y="512"/>
                      </a:cubicBezTo>
                      <a:lnTo>
                        <a:pt x="0" y="12"/>
                      </a:lnTo>
                      <a:cubicBezTo>
                        <a:pt x="0" y="5"/>
                        <a:pt x="5" y="0"/>
                        <a:pt x="13" y="0"/>
                      </a:cubicBezTo>
                      <a:lnTo>
                        <a:pt x="388" y="0"/>
                      </a:lnTo>
                      <a:cubicBezTo>
                        <a:pt x="395" y="0"/>
                        <a:pt x="401" y="5"/>
                        <a:pt x="401" y="12"/>
                      </a:cubicBezTo>
                      <a:lnTo>
                        <a:pt x="401" y="512"/>
                      </a:lnTo>
                      <a:cubicBezTo>
                        <a:pt x="401" y="520"/>
                        <a:pt x="394" y="525"/>
                        <a:pt x="388" y="525"/>
                      </a:cubicBezTo>
                      <a:close/>
                      <a:moveTo>
                        <a:pt x="25" y="500"/>
                      </a:moveTo>
                      <a:lnTo>
                        <a:pt x="376" y="500"/>
                      </a:lnTo>
                      <a:lnTo>
                        <a:pt x="376" y="25"/>
                      </a:lnTo>
                      <a:lnTo>
                        <a:pt x="25" y="25"/>
                      </a:lnTo>
                      <a:lnTo>
                        <a:pt x="25" y="50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Document2"/>
                <p:cNvSpPr>
                  <a:spLocks noChangeArrowheads="1"/>
                </p:cNvSpPr>
                <p:nvPr>
                  <p:custDataLst>
                    <p:tags r:id="rId73"/>
                  </p:custDataLst>
                </p:nvPr>
              </p:nvSpPr>
              <p:spPr bwMode="auto">
                <a:xfrm>
                  <a:off x="205" y="239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Document2"/>
                <p:cNvSpPr>
                  <a:spLocks noChangeArrowheads="1"/>
                </p:cNvSpPr>
                <p:nvPr>
                  <p:custDataLst>
                    <p:tags r:id="rId74"/>
                  </p:custDataLst>
                </p:nvPr>
              </p:nvSpPr>
              <p:spPr bwMode="auto">
                <a:xfrm>
                  <a:off x="205" y="267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Document2"/>
                <p:cNvSpPr>
                  <a:spLocks noChangeArrowheads="1"/>
                </p:cNvSpPr>
                <p:nvPr>
                  <p:custDataLst>
                    <p:tags r:id="rId75"/>
                  </p:custDataLst>
                </p:nvPr>
              </p:nvSpPr>
              <p:spPr bwMode="auto">
                <a:xfrm>
                  <a:off x="205" y="295"/>
                  <a:ext cx="94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Document2"/>
                <p:cNvSpPr>
                  <a:spLocks noChangeArrowheads="1"/>
                </p:cNvSpPr>
                <p:nvPr>
                  <p:custDataLst>
                    <p:tags r:id="rId76"/>
                  </p:custDataLst>
                </p:nvPr>
              </p:nvSpPr>
              <p:spPr bwMode="auto">
                <a:xfrm>
                  <a:off x="252" y="182"/>
                  <a:ext cx="47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Document2"/>
                <p:cNvSpPr>
                  <a:spLocks noChangeArrowheads="1"/>
                </p:cNvSpPr>
                <p:nvPr>
                  <p:custDataLst>
                    <p:tags r:id="rId77"/>
                  </p:custDataLst>
                </p:nvPr>
              </p:nvSpPr>
              <p:spPr bwMode="auto">
                <a:xfrm>
                  <a:off x="252" y="211"/>
                  <a:ext cx="47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Document2"/>
                <p:cNvSpPr>
                  <a:spLocks/>
                </p:cNvSpPr>
                <p:nvPr>
                  <p:custDataLst>
                    <p:tags r:id="rId78"/>
                  </p:custDataLst>
                </p:nvPr>
              </p:nvSpPr>
              <p:spPr bwMode="auto">
                <a:xfrm>
                  <a:off x="206" y="182"/>
                  <a:ext cx="36" cy="37"/>
                </a:xfrm>
                <a:custGeom>
                  <a:avLst/>
                  <a:gdLst>
                    <a:gd name="T0" fmla="*/ 49 w 98"/>
                    <a:gd name="T1" fmla="*/ 97 h 97"/>
                    <a:gd name="T2" fmla="*/ 49 w 98"/>
                    <a:gd name="T3" fmla="*/ 97 h 97"/>
                    <a:gd name="T4" fmla="*/ 0 w 98"/>
                    <a:gd name="T5" fmla="*/ 48 h 97"/>
                    <a:gd name="T6" fmla="*/ 0 w 98"/>
                    <a:gd name="T7" fmla="*/ 48 h 97"/>
                    <a:gd name="T8" fmla="*/ 49 w 98"/>
                    <a:gd name="T9" fmla="*/ 0 h 97"/>
                    <a:gd name="T10" fmla="*/ 49 w 98"/>
                    <a:gd name="T11" fmla="*/ 0 h 97"/>
                    <a:gd name="T12" fmla="*/ 98 w 98"/>
                    <a:gd name="T13" fmla="*/ 48 h 97"/>
                    <a:gd name="T14" fmla="*/ 98 w 98"/>
                    <a:gd name="T15" fmla="*/ 48 h 97"/>
                    <a:gd name="T16" fmla="*/ 49 w 98"/>
                    <a:gd name="T17" fmla="*/ 97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8" h="97">
                      <a:moveTo>
                        <a:pt x="49" y="97"/>
                      </a:moveTo>
                      <a:lnTo>
                        <a:pt x="49" y="97"/>
                      </a:lnTo>
                      <a:cubicBezTo>
                        <a:pt x="22" y="97"/>
                        <a:pt x="0" y="75"/>
                        <a:pt x="0" y="48"/>
                      </a:cubicBezTo>
                      <a:lnTo>
                        <a:pt x="0" y="48"/>
                      </a:lnTo>
                      <a:cubicBezTo>
                        <a:pt x="0" y="21"/>
                        <a:pt x="23" y="0"/>
                        <a:pt x="49" y="0"/>
                      </a:cubicBezTo>
                      <a:lnTo>
                        <a:pt x="49" y="0"/>
                      </a:lnTo>
                      <a:cubicBezTo>
                        <a:pt x="77" y="0"/>
                        <a:pt x="98" y="22"/>
                        <a:pt x="98" y="48"/>
                      </a:cubicBezTo>
                      <a:lnTo>
                        <a:pt x="98" y="48"/>
                      </a:lnTo>
                      <a:cubicBezTo>
                        <a:pt x="98" y="76"/>
                        <a:pt x="77" y="97"/>
                        <a:pt x="49" y="97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228" name="Award"/>
              <p:cNvGrpSpPr>
                <a:grpSpLocks noChangeAspect="1"/>
              </p:cNvGrpSpPr>
              <p:nvPr>
                <p:custDataLst>
                  <p:tags r:id="rId71"/>
                </p:custDataLst>
              </p:nvPr>
            </p:nvGrpSpPr>
            <p:grpSpPr>
              <a:xfrm>
                <a:off x="8124621" y="3822850"/>
                <a:ext cx="265918" cy="418976"/>
                <a:chOff x="5941649" y="3440456"/>
                <a:chExt cx="2051465" cy="3232250"/>
              </a:xfrm>
              <a:solidFill>
                <a:schemeClr val="accent1"/>
              </a:solidFill>
            </p:grpSpPr>
            <p:sp>
              <p:nvSpPr>
                <p:cNvPr id="229" name="Freeform: Shape 683"/>
                <p:cNvSpPr>
                  <a:spLocks/>
                </p:cNvSpPr>
                <p:nvPr/>
              </p:nvSpPr>
              <p:spPr bwMode="auto">
                <a:xfrm>
                  <a:off x="5941649" y="3440456"/>
                  <a:ext cx="2051465" cy="2053850"/>
                </a:xfrm>
                <a:custGeom>
                  <a:avLst/>
                  <a:gdLst>
                    <a:gd name="connsiteX0" fmla="*/ 999938 w 2051465"/>
                    <a:gd name="connsiteY0" fmla="*/ 1647136 h 2053850"/>
                    <a:gd name="connsiteX1" fmla="*/ 1004820 w 2051465"/>
                    <a:gd name="connsiteY1" fmla="*/ 1675527 h 2053850"/>
                    <a:gd name="connsiteX2" fmla="*/ 983988 w 2051465"/>
                    <a:gd name="connsiteY2" fmla="*/ 1695690 h 2053850"/>
                    <a:gd name="connsiteX3" fmla="*/ 1012795 w 2051465"/>
                    <a:gd name="connsiteY3" fmla="*/ 1699884 h 2053850"/>
                    <a:gd name="connsiteX4" fmla="*/ 1025815 w 2051465"/>
                    <a:gd name="connsiteY4" fmla="*/ 1725855 h 2053850"/>
                    <a:gd name="connsiteX5" fmla="*/ 1038672 w 2051465"/>
                    <a:gd name="connsiteY5" fmla="*/ 1699884 h 2053850"/>
                    <a:gd name="connsiteX6" fmla="*/ 1067478 w 2051465"/>
                    <a:gd name="connsiteY6" fmla="*/ 1695690 h 2053850"/>
                    <a:gd name="connsiteX7" fmla="*/ 1046646 w 2051465"/>
                    <a:gd name="connsiteY7" fmla="*/ 1675527 h 2053850"/>
                    <a:gd name="connsiteX8" fmla="*/ 1051529 w 2051465"/>
                    <a:gd name="connsiteY8" fmla="*/ 1647136 h 2053850"/>
                    <a:gd name="connsiteX9" fmla="*/ 1025815 w 2051465"/>
                    <a:gd name="connsiteY9" fmla="*/ 1660525 h 2053850"/>
                    <a:gd name="connsiteX10" fmla="*/ 1158095 w 2051465"/>
                    <a:gd name="connsiteY10" fmla="*/ 1634016 h 2053850"/>
                    <a:gd name="connsiteX11" fmla="*/ 1135334 w 2051465"/>
                    <a:gd name="connsiteY11" fmla="*/ 1651418 h 2053850"/>
                    <a:gd name="connsiteX12" fmla="*/ 1108086 w 2051465"/>
                    <a:gd name="connsiteY12" fmla="*/ 1642797 h 2053850"/>
                    <a:gd name="connsiteX13" fmla="*/ 1117703 w 2051465"/>
                    <a:gd name="connsiteY13" fmla="*/ 1669779 h 2053850"/>
                    <a:gd name="connsiteX14" fmla="*/ 1100873 w 2051465"/>
                    <a:gd name="connsiteY14" fmla="*/ 1692928 h 2053850"/>
                    <a:gd name="connsiteX15" fmla="*/ 1129724 w 2051465"/>
                    <a:gd name="connsiteY15" fmla="*/ 1692130 h 2053850"/>
                    <a:gd name="connsiteX16" fmla="*/ 1146715 w 2051465"/>
                    <a:gd name="connsiteY16" fmla="*/ 1715120 h 2053850"/>
                    <a:gd name="connsiteX17" fmla="*/ 1154729 w 2051465"/>
                    <a:gd name="connsiteY17" fmla="*/ 1687660 h 2053850"/>
                    <a:gd name="connsiteX18" fmla="*/ 1181977 w 2051465"/>
                    <a:gd name="connsiteY18" fmla="*/ 1678719 h 2053850"/>
                    <a:gd name="connsiteX19" fmla="*/ 1158255 w 2051465"/>
                    <a:gd name="connsiteY19" fmla="*/ 1662594 h 2053850"/>
                    <a:gd name="connsiteX20" fmla="*/ 892528 w 2051465"/>
                    <a:gd name="connsiteY20" fmla="*/ 1634016 h 2053850"/>
                    <a:gd name="connsiteX21" fmla="*/ 892365 w 2051465"/>
                    <a:gd name="connsiteY21" fmla="*/ 1662594 h 2053850"/>
                    <a:gd name="connsiteX22" fmla="*/ 868294 w 2051465"/>
                    <a:gd name="connsiteY22" fmla="*/ 1678719 h 2053850"/>
                    <a:gd name="connsiteX23" fmla="*/ 895943 w 2051465"/>
                    <a:gd name="connsiteY23" fmla="*/ 1687660 h 2053850"/>
                    <a:gd name="connsiteX24" fmla="*/ 904076 w 2051465"/>
                    <a:gd name="connsiteY24" fmla="*/ 1715120 h 2053850"/>
                    <a:gd name="connsiteX25" fmla="*/ 921316 w 2051465"/>
                    <a:gd name="connsiteY25" fmla="*/ 1692130 h 2053850"/>
                    <a:gd name="connsiteX26" fmla="*/ 950591 w 2051465"/>
                    <a:gd name="connsiteY26" fmla="*/ 1692928 h 2053850"/>
                    <a:gd name="connsiteX27" fmla="*/ 933514 w 2051465"/>
                    <a:gd name="connsiteY27" fmla="*/ 1669779 h 2053850"/>
                    <a:gd name="connsiteX28" fmla="*/ 943272 w 2051465"/>
                    <a:gd name="connsiteY28" fmla="*/ 1642797 h 2053850"/>
                    <a:gd name="connsiteX29" fmla="*/ 915623 w 2051465"/>
                    <a:gd name="connsiteY29" fmla="*/ 1651418 h 2053850"/>
                    <a:gd name="connsiteX30" fmla="*/ 1261194 w 2051465"/>
                    <a:gd name="connsiteY30" fmla="*/ 1600620 h 2053850"/>
                    <a:gd name="connsiteX31" fmla="*/ 1241782 w 2051465"/>
                    <a:gd name="connsiteY31" fmla="*/ 1622103 h 2053850"/>
                    <a:gd name="connsiteX32" fmla="*/ 1212988 w 2051465"/>
                    <a:gd name="connsiteY32" fmla="*/ 1618197 h 2053850"/>
                    <a:gd name="connsiteX33" fmla="*/ 1227385 w 2051465"/>
                    <a:gd name="connsiteY33" fmla="*/ 1643586 h 2053850"/>
                    <a:gd name="connsiteX34" fmla="*/ 1214768 w 2051465"/>
                    <a:gd name="connsiteY34" fmla="*/ 1669951 h 2053850"/>
                    <a:gd name="connsiteX35" fmla="*/ 1243238 w 2051465"/>
                    <a:gd name="connsiteY35" fmla="*/ 1663929 h 2053850"/>
                    <a:gd name="connsiteX36" fmla="*/ 1264106 w 2051465"/>
                    <a:gd name="connsiteY36" fmla="*/ 1684110 h 2053850"/>
                    <a:gd name="connsiteX37" fmla="*/ 1267341 w 2051465"/>
                    <a:gd name="connsiteY37" fmla="*/ 1655141 h 2053850"/>
                    <a:gd name="connsiteX38" fmla="*/ 1292900 w 2051465"/>
                    <a:gd name="connsiteY38" fmla="*/ 1641307 h 2053850"/>
                    <a:gd name="connsiteX39" fmla="*/ 1266371 w 2051465"/>
                    <a:gd name="connsiteY39" fmla="*/ 1629264 h 2053850"/>
                    <a:gd name="connsiteX40" fmla="*/ 789798 w 2051465"/>
                    <a:gd name="connsiteY40" fmla="*/ 1600620 h 2053850"/>
                    <a:gd name="connsiteX41" fmla="*/ 784699 w 2051465"/>
                    <a:gd name="connsiteY41" fmla="*/ 1629264 h 2053850"/>
                    <a:gd name="connsiteX42" fmla="*/ 758565 w 2051465"/>
                    <a:gd name="connsiteY42" fmla="*/ 1641307 h 2053850"/>
                    <a:gd name="connsiteX43" fmla="*/ 783743 w 2051465"/>
                    <a:gd name="connsiteY43" fmla="*/ 1655141 h 2053850"/>
                    <a:gd name="connsiteX44" fmla="*/ 786930 w 2051465"/>
                    <a:gd name="connsiteY44" fmla="*/ 1684110 h 2053850"/>
                    <a:gd name="connsiteX45" fmla="*/ 807486 w 2051465"/>
                    <a:gd name="connsiteY45" fmla="*/ 1663929 h 2053850"/>
                    <a:gd name="connsiteX46" fmla="*/ 835531 w 2051465"/>
                    <a:gd name="connsiteY46" fmla="*/ 1669951 h 2053850"/>
                    <a:gd name="connsiteX47" fmla="*/ 823102 w 2051465"/>
                    <a:gd name="connsiteY47" fmla="*/ 1643586 h 2053850"/>
                    <a:gd name="connsiteX48" fmla="*/ 837284 w 2051465"/>
                    <a:gd name="connsiteY48" fmla="*/ 1618197 h 2053850"/>
                    <a:gd name="connsiteX49" fmla="*/ 808920 w 2051465"/>
                    <a:gd name="connsiteY49" fmla="*/ 1622103 h 2053850"/>
                    <a:gd name="connsiteX50" fmla="*/ 1357465 w 2051465"/>
                    <a:gd name="connsiteY50" fmla="*/ 1551719 h 2053850"/>
                    <a:gd name="connsiteX51" fmla="*/ 1342004 w 2051465"/>
                    <a:gd name="connsiteY51" fmla="*/ 1576277 h 2053850"/>
                    <a:gd name="connsiteX52" fmla="*/ 1313176 w 2051465"/>
                    <a:gd name="connsiteY52" fmla="*/ 1577408 h 2053850"/>
                    <a:gd name="connsiteX53" fmla="*/ 1331697 w 2051465"/>
                    <a:gd name="connsiteY53" fmla="*/ 1599703 h 2053850"/>
                    <a:gd name="connsiteX54" fmla="*/ 1323806 w 2051465"/>
                    <a:gd name="connsiteY54" fmla="*/ 1627492 h 2053850"/>
                    <a:gd name="connsiteX55" fmla="*/ 1350701 w 2051465"/>
                    <a:gd name="connsiteY55" fmla="*/ 1616829 h 2053850"/>
                    <a:gd name="connsiteX56" fmla="*/ 1374698 w 2051465"/>
                    <a:gd name="connsiteY56" fmla="*/ 1632823 h 2053850"/>
                    <a:gd name="connsiteX57" fmla="*/ 1372765 w 2051465"/>
                    <a:gd name="connsiteY57" fmla="*/ 1603904 h 2053850"/>
                    <a:gd name="connsiteX58" fmla="*/ 1395473 w 2051465"/>
                    <a:gd name="connsiteY58" fmla="*/ 1585970 h 2053850"/>
                    <a:gd name="connsiteX59" fmla="*/ 1367450 w 2051465"/>
                    <a:gd name="connsiteY59" fmla="*/ 1578862 h 2053850"/>
                    <a:gd name="connsiteX60" fmla="*/ 694000 w 2051465"/>
                    <a:gd name="connsiteY60" fmla="*/ 1551719 h 2053850"/>
                    <a:gd name="connsiteX61" fmla="*/ 684015 w 2051465"/>
                    <a:gd name="connsiteY61" fmla="*/ 1578862 h 2053850"/>
                    <a:gd name="connsiteX62" fmla="*/ 655992 w 2051465"/>
                    <a:gd name="connsiteY62" fmla="*/ 1585970 h 2053850"/>
                    <a:gd name="connsiteX63" fmla="*/ 678700 w 2051465"/>
                    <a:gd name="connsiteY63" fmla="*/ 1603904 h 2053850"/>
                    <a:gd name="connsiteX64" fmla="*/ 676768 w 2051465"/>
                    <a:gd name="connsiteY64" fmla="*/ 1632823 h 2053850"/>
                    <a:gd name="connsiteX65" fmla="*/ 700764 w 2051465"/>
                    <a:gd name="connsiteY65" fmla="*/ 1616829 h 2053850"/>
                    <a:gd name="connsiteX66" fmla="*/ 727660 w 2051465"/>
                    <a:gd name="connsiteY66" fmla="*/ 1627492 h 2053850"/>
                    <a:gd name="connsiteX67" fmla="*/ 719768 w 2051465"/>
                    <a:gd name="connsiteY67" fmla="*/ 1599703 h 2053850"/>
                    <a:gd name="connsiteX68" fmla="*/ 738289 w 2051465"/>
                    <a:gd name="connsiteY68" fmla="*/ 1577408 h 2053850"/>
                    <a:gd name="connsiteX69" fmla="*/ 709461 w 2051465"/>
                    <a:gd name="connsiteY69" fmla="*/ 1576277 h 2053850"/>
                    <a:gd name="connsiteX70" fmla="*/ 1442881 w 2051465"/>
                    <a:gd name="connsiteY70" fmla="*/ 1486119 h 2053850"/>
                    <a:gd name="connsiteX71" fmla="*/ 1431951 w 2051465"/>
                    <a:gd name="connsiteY71" fmla="*/ 1512757 h 2053850"/>
                    <a:gd name="connsiteX72" fmla="*/ 1403822 w 2051465"/>
                    <a:gd name="connsiteY72" fmla="*/ 1518854 h 2053850"/>
                    <a:gd name="connsiteX73" fmla="*/ 1425843 w 2051465"/>
                    <a:gd name="connsiteY73" fmla="*/ 1537468 h 2053850"/>
                    <a:gd name="connsiteX74" fmla="*/ 1422950 w 2051465"/>
                    <a:gd name="connsiteY74" fmla="*/ 1566031 h 2053850"/>
                    <a:gd name="connsiteX75" fmla="*/ 1447382 w 2051465"/>
                    <a:gd name="connsiteY75" fmla="*/ 1550947 h 2053850"/>
                    <a:gd name="connsiteX76" fmla="*/ 1473743 w 2051465"/>
                    <a:gd name="connsiteY76" fmla="*/ 1562501 h 2053850"/>
                    <a:gd name="connsiteX77" fmla="*/ 1466992 w 2051465"/>
                    <a:gd name="connsiteY77" fmla="*/ 1534580 h 2053850"/>
                    <a:gd name="connsiteX78" fmla="*/ 1486119 w 2051465"/>
                    <a:gd name="connsiteY78" fmla="*/ 1513078 h 2053850"/>
                    <a:gd name="connsiteX79" fmla="*/ 1457347 w 2051465"/>
                    <a:gd name="connsiteY79" fmla="*/ 1510831 h 2053850"/>
                    <a:gd name="connsiteX80" fmla="*/ 607391 w 2051465"/>
                    <a:gd name="connsiteY80" fmla="*/ 1486119 h 2053850"/>
                    <a:gd name="connsiteX81" fmla="*/ 592925 w 2051465"/>
                    <a:gd name="connsiteY81" fmla="*/ 1510831 h 2053850"/>
                    <a:gd name="connsiteX82" fmla="*/ 564153 w 2051465"/>
                    <a:gd name="connsiteY82" fmla="*/ 1513078 h 2053850"/>
                    <a:gd name="connsiteX83" fmla="*/ 583281 w 2051465"/>
                    <a:gd name="connsiteY83" fmla="*/ 1534580 h 2053850"/>
                    <a:gd name="connsiteX84" fmla="*/ 576530 w 2051465"/>
                    <a:gd name="connsiteY84" fmla="*/ 1562501 h 2053850"/>
                    <a:gd name="connsiteX85" fmla="*/ 602891 w 2051465"/>
                    <a:gd name="connsiteY85" fmla="*/ 1550947 h 2053850"/>
                    <a:gd name="connsiteX86" fmla="*/ 627323 w 2051465"/>
                    <a:gd name="connsiteY86" fmla="*/ 1566031 h 2053850"/>
                    <a:gd name="connsiteX87" fmla="*/ 624429 w 2051465"/>
                    <a:gd name="connsiteY87" fmla="*/ 1537468 h 2053850"/>
                    <a:gd name="connsiteX88" fmla="*/ 646450 w 2051465"/>
                    <a:gd name="connsiteY88" fmla="*/ 1518854 h 2053850"/>
                    <a:gd name="connsiteX89" fmla="*/ 618321 w 2051465"/>
                    <a:gd name="connsiteY89" fmla="*/ 1512757 h 2053850"/>
                    <a:gd name="connsiteX90" fmla="*/ 1516404 w 2051465"/>
                    <a:gd name="connsiteY90" fmla="*/ 1406208 h 2053850"/>
                    <a:gd name="connsiteX91" fmla="*/ 1510318 w 2051465"/>
                    <a:gd name="connsiteY91" fmla="*/ 1434337 h 2053850"/>
                    <a:gd name="connsiteX92" fmla="*/ 1483734 w 2051465"/>
                    <a:gd name="connsiteY92" fmla="*/ 1445267 h 2053850"/>
                    <a:gd name="connsiteX93" fmla="*/ 1508557 w 2051465"/>
                    <a:gd name="connsiteY93" fmla="*/ 1459894 h 2053850"/>
                    <a:gd name="connsiteX94" fmla="*/ 1510799 w 2051465"/>
                    <a:gd name="connsiteY94" fmla="*/ 1488505 h 2053850"/>
                    <a:gd name="connsiteX95" fmla="*/ 1532098 w 2051465"/>
                    <a:gd name="connsiteY95" fmla="*/ 1469378 h 2053850"/>
                    <a:gd name="connsiteX96" fmla="*/ 1560123 w 2051465"/>
                    <a:gd name="connsiteY96" fmla="*/ 1476289 h 2053850"/>
                    <a:gd name="connsiteX97" fmla="*/ 1548593 w 2051465"/>
                    <a:gd name="connsiteY97" fmla="*/ 1449768 h 2053850"/>
                    <a:gd name="connsiteX98" fmla="*/ 1563646 w 2051465"/>
                    <a:gd name="connsiteY98" fmla="*/ 1425336 h 2053850"/>
                    <a:gd name="connsiteX99" fmla="*/ 1534980 w 2051465"/>
                    <a:gd name="connsiteY99" fmla="*/ 1428229 h 2053850"/>
                    <a:gd name="connsiteX100" fmla="*/ 534575 w 2051465"/>
                    <a:gd name="connsiteY100" fmla="*/ 1406208 h 2053850"/>
                    <a:gd name="connsiteX101" fmla="*/ 515721 w 2051465"/>
                    <a:gd name="connsiteY101" fmla="*/ 1428229 h 2053850"/>
                    <a:gd name="connsiteX102" fmla="*/ 486627 w 2051465"/>
                    <a:gd name="connsiteY102" fmla="*/ 1425336 h 2053850"/>
                    <a:gd name="connsiteX103" fmla="*/ 502068 w 2051465"/>
                    <a:gd name="connsiteY103" fmla="*/ 1449768 h 2053850"/>
                    <a:gd name="connsiteX104" fmla="*/ 490203 w 2051465"/>
                    <a:gd name="connsiteY104" fmla="*/ 1476289 h 2053850"/>
                    <a:gd name="connsiteX105" fmla="*/ 518646 w 2051465"/>
                    <a:gd name="connsiteY105" fmla="*/ 1469378 h 2053850"/>
                    <a:gd name="connsiteX106" fmla="*/ 540263 w 2051465"/>
                    <a:gd name="connsiteY106" fmla="*/ 1488505 h 2053850"/>
                    <a:gd name="connsiteX107" fmla="*/ 542539 w 2051465"/>
                    <a:gd name="connsiteY107" fmla="*/ 1459894 h 2053850"/>
                    <a:gd name="connsiteX108" fmla="*/ 567731 w 2051465"/>
                    <a:gd name="connsiteY108" fmla="*/ 1445267 h 2053850"/>
                    <a:gd name="connsiteX109" fmla="*/ 540751 w 2051465"/>
                    <a:gd name="connsiteY109" fmla="*/ 1434337 h 2053850"/>
                    <a:gd name="connsiteX110" fmla="*/ 1575022 w 2051465"/>
                    <a:gd name="connsiteY110" fmla="*/ 1315562 h 2053850"/>
                    <a:gd name="connsiteX111" fmla="*/ 1573729 w 2051465"/>
                    <a:gd name="connsiteY111" fmla="*/ 1344390 h 2053850"/>
                    <a:gd name="connsiteX112" fmla="*/ 1549333 w 2051465"/>
                    <a:gd name="connsiteY112" fmla="*/ 1359851 h 2053850"/>
                    <a:gd name="connsiteX113" fmla="*/ 1576476 w 2051465"/>
                    <a:gd name="connsiteY113" fmla="*/ 1369836 h 2053850"/>
                    <a:gd name="connsiteX114" fmla="*/ 1583584 w 2051465"/>
                    <a:gd name="connsiteY114" fmla="*/ 1397859 h 2053850"/>
                    <a:gd name="connsiteX115" fmla="*/ 1601518 w 2051465"/>
                    <a:gd name="connsiteY115" fmla="*/ 1375151 h 2053850"/>
                    <a:gd name="connsiteX116" fmla="*/ 1630437 w 2051465"/>
                    <a:gd name="connsiteY116" fmla="*/ 1377084 h 2053850"/>
                    <a:gd name="connsiteX117" fmla="*/ 1614443 w 2051465"/>
                    <a:gd name="connsiteY117" fmla="*/ 1353087 h 2053850"/>
                    <a:gd name="connsiteX118" fmla="*/ 1625106 w 2051465"/>
                    <a:gd name="connsiteY118" fmla="*/ 1326192 h 2053850"/>
                    <a:gd name="connsiteX119" fmla="*/ 1597156 w 2051465"/>
                    <a:gd name="connsiteY119" fmla="*/ 1334083 h 2053850"/>
                    <a:gd name="connsiteX120" fmla="*/ 476443 w 2051465"/>
                    <a:gd name="connsiteY120" fmla="*/ 1315562 h 2053850"/>
                    <a:gd name="connsiteX121" fmla="*/ 454309 w 2051465"/>
                    <a:gd name="connsiteY121" fmla="*/ 1334083 h 2053850"/>
                    <a:gd name="connsiteX122" fmla="*/ 426359 w 2051465"/>
                    <a:gd name="connsiteY122" fmla="*/ 1326192 h 2053850"/>
                    <a:gd name="connsiteX123" fmla="*/ 437022 w 2051465"/>
                    <a:gd name="connsiteY123" fmla="*/ 1353087 h 2053850"/>
                    <a:gd name="connsiteX124" fmla="*/ 421027 w 2051465"/>
                    <a:gd name="connsiteY124" fmla="*/ 1377084 h 2053850"/>
                    <a:gd name="connsiteX125" fmla="*/ 449947 w 2051465"/>
                    <a:gd name="connsiteY125" fmla="*/ 1375151 h 2053850"/>
                    <a:gd name="connsiteX126" fmla="*/ 467880 w 2051465"/>
                    <a:gd name="connsiteY126" fmla="*/ 1397859 h 2053850"/>
                    <a:gd name="connsiteX127" fmla="*/ 474989 w 2051465"/>
                    <a:gd name="connsiteY127" fmla="*/ 1369836 h 2053850"/>
                    <a:gd name="connsiteX128" fmla="*/ 502131 w 2051465"/>
                    <a:gd name="connsiteY128" fmla="*/ 1359851 h 2053850"/>
                    <a:gd name="connsiteX129" fmla="*/ 477735 w 2051465"/>
                    <a:gd name="connsiteY129" fmla="*/ 1344390 h 2053850"/>
                    <a:gd name="connsiteX130" fmla="*/ 1615811 w 2051465"/>
                    <a:gd name="connsiteY130" fmla="*/ 1215374 h 2053850"/>
                    <a:gd name="connsiteX131" fmla="*/ 1619717 w 2051465"/>
                    <a:gd name="connsiteY131" fmla="*/ 1244168 h 2053850"/>
                    <a:gd name="connsiteX132" fmla="*/ 1598234 w 2051465"/>
                    <a:gd name="connsiteY132" fmla="*/ 1263580 h 2053850"/>
                    <a:gd name="connsiteX133" fmla="*/ 1626878 w 2051465"/>
                    <a:gd name="connsiteY133" fmla="*/ 1268757 h 2053850"/>
                    <a:gd name="connsiteX134" fmla="*/ 1638921 w 2051465"/>
                    <a:gd name="connsiteY134" fmla="*/ 1295286 h 2053850"/>
                    <a:gd name="connsiteX135" fmla="*/ 1652755 w 2051465"/>
                    <a:gd name="connsiteY135" fmla="*/ 1269727 h 2053850"/>
                    <a:gd name="connsiteX136" fmla="*/ 1681724 w 2051465"/>
                    <a:gd name="connsiteY136" fmla="*/ 1266492 h 2053850"/>
                    <a:gd name="connsiteX137" fmla="*/ 1661543 w 2051465"/>
                    <a:gd name="connsiteY137" fmla="*/ 1245624 h 2053850"/>
                    <a:gd name="connsiteX138" fmla="*/ 1667402 w 2051465"/>
                    <a:gd name="connsiteY138" fmla="*/ 1217154 h 2053850"/>
                    <a:gd name="connsiteX139" fmla="*/ 1641200 w 2051465"/>
                    <a:gd name="connsiteY139" fmla="*/ 1229771 h 2053850"/>
                    <a:gd name="connsiteX140" fmla="*/ 434713 w 2051465"/>
                    <a:gd name="connsiteY140" fmla="*/ 1215374 h 2053850"/>
                    <a:gd name="connsiteX141" fmla="*/ 409687 w 2051465"/>
                    <a:gd name="connsiteY141" fmla="*/ 1229771 h 2053850"/>
                    <a:gd name="connsiteX142" fmla="*/ 383858 w 2051465"/>
                    <a:gd name="connsiteY142" fmla="*/ 1217154 h 2053850"/>
                    <a:gd name="connsiteX143" fmla="*/ 389634 w 2051465"/>
                    <a:gd name="connsiteY143" fmla="*/ 1245624 h 2053850"/>
                    <a:gd name="connsiteX144" fmla="*/ 369741 w 2051465"/>
                    <a:gd name="connsiteY144" fmla="*/ 1266492 h 2053850"/>
                    <a:gd name="connsiteX145" fmla="*/ 398297 w 2051465"/>
                    <a:gd name="connsiteY145" fmla="*/ 1269727 h 2053850"/>
                    <a:gd name="connsiteX146" fmla="*/ 411932 w 2051465"/>
                    <a:gd name="connsiteY146" fmla="*/ 1295286 h 2053850"/>
                    <a:gd name="connsiteX147" fmla="*/ 423804 w 2051465"/>
                    <a:gd name="connsiteY147" fmla="*/ 1268757 h 2053850"/>
                    <a:gd name="connsiteX148" fmla="*/ 452038 w 2051465"/>
                    <a:gd name="connsiteY148" fmla="*/ 1263580 h 2053850"/>
                    <a:gd name="connsiteX149" fmla="*/ 430862 w 2051465"/>
                    <a:gd name="connsiteY149" fmla="*/ 1244168 h 2053850"/>
                    <a:gd name="connsiteX150" fmla="*/ 1690261 w 2051465"/>
                    <a:gd name="connsiteY150" fmla="*/ 1102066 h 2053850"/>
                    <a:gd name="connsiteX151" fmla="*/ 1666655 w 2051465"/>
                    <a:gd name="connsiteY151" fmla="*/ 1119015 h 2053850"/>
                    <a:gd name="connsiteX152" fmla="*/ 1639493 w 2051465"/>
                    <a:gd name="connsiteY152" fmla="*/ 1109237 h 2053850"/>
                    <a:gd name="connsiteX153" fmla="*/ 1648223 w 2051465"/>
                    <a:gd name="connsiteY153" fmla="*/ 1137104 h 2053850"/>
                    <a:gd name="connsiteX154" fmla="*/ 1630438 w 2051465"/>
                    <a:gd name="connsiteY154" fmla="*/ 1160082 h 2053850"/>
                    <a:gd name="connsiteX155" fmla="*/ 1659541 w 2051465"/>
                    <a:gd name="connsiteY155" fmla="*/ 1160245 h 2053850"/>
                    <a:gd name="connsiteX156" fmla="*/ 1675871 w 2051465"/>
                    <a:gd name="connsiteY156" fmla="*/ 1184363 h 2053850"/>
                    <a:gd name="connsiteX157" fmla="*/ 1684926 w 2051465"/>
                    <a:gd name="connsiteY157" fmla="*/ 1156659 h 2053850"/>
                    <a:gd name="connsiteX158" fmla="*/ 1712735 w 2051465"/>
                    <a:gd name="connsiteY158" fmla="*/ 1148511 h 2053850"/>
                    <a:gd name="connsiteX159" fmla="*/ 1689453 w 2051465"/>
                    <a:gd name="connsiteY159" fmla="*/ 1131237 h 2053850"/>
                    <a:gd name="connsiteX160" fmla="*/ 360012 w 2051465"/>
                    <a:gd name="connsiteY160" fmla="*/ 1102066 h 2053850"/>
                    <a:gd name="connsiteX161" fmla="*/ 360821 w 2051465"/>
                    <a:gd name="connsiteY161" fmla="*/ 1131237 h 2053850"/>
                    <a:gd name="connsiteX162" fmla="*/ 337538 w 2051465"/>
                    <a:gd name="connsiteY162" fmla="*/ 1148511 h 2053850"/>
                    <a:gd name="connsiteX163" fmla="*/ 365348 w 2051465"/>
                    <a:gd name="connsiteY163" fmla="*/ 1156659 h 2053850"/>
                    <a:gd name="connsiteX164" fmla="*/ 374402 w 2051465"/>
                    <a:gd name="connsiteY164" fmla="*/ 1184363 h 2053850"/>
                    <a:gd name="connsiteX165" fmla="*/ 390732 w 2051465"/>
                    <a:gd name="connsiteY165" fmla="*/ 1160245 h 2053850"/>
                    <a:gd name="connsiteX166" fmla="*/ 419835 w 2051465"/>
                    <a:gd name="connsiteY166" fmla="*/ 1160082 h 2053850"/>
                    <a:gd name="connsiteX167" fmla="*/ 402050 w 2051465"/>
                    <a:gd name="connsiteY167" fmla="*/ 1137104 h 2053850"/>
                    <a:gd name="connsiteX168" fmla="*/ 410781 w 2051465"/>
                    <a:gd name="connsiteY168" fmla="*/ 1109237 h 2053850"/>
                    <a:gd name="connsiteX169" fmla="*/ 383618 w 2051465"/>
                    <a:gd name="connsiteY169" fmla="*/ 1119015 h 2053850"/>
                    <a:gd name="connsiteX170" fmla="*/ 1693366 w 2051465"/>
                    <a:gd name="connsiteY170" fmla="*/ 985180 h 2053850"/>
                    <a:gd name="connsiteX171" fmla="*/ 1673244 w 2051465"/>
                    <a:gd name="connsiteY171" fmla="*/ 1006012 h 2053850"/>
                    <a:gd name="connsiteX172" fmla="*/ 1644750 w 2051465"/>
                    <a:gd name="connsiteY172" fmla="*/ 1001130 h 2053850"/>
                    <a:gd name="connsiteX173" fmla="*/ 1658273 w 2051465"/>
                    <a:gd name="connsiteY173" fmla="*/ 1027007 h 2053850"/>
                    <a:gd name="connsiteX174" fmla="*/ 1644750 w 2051465"/>
                    <a:gd name="connsiteY174" fmla="*/ 1052721 h 2053850"/>
                    <a:gd name="connsiteX175" fmla="*/ 1673244 w 2051465"/>
                    <a:gd name="connsiteY175" fmla="*/ 1047838 h 2053850"/>
                    <a:gd name="connsiteX176" fmla="*/ 1693366 w 2051465"/>
                    <a:gd name="connsiteY176" fmla="*/ 1068670 h 2053850"/>
                    <a:gd name="connsiteX177" fmla="*/ 1697552 w 2051465"/>
                    <a:gd name="connsiteY177" fmla="*/ 1039864 h 2053850"/>
                    <a:gd name="connsiteX178" fmla="*/ 1723469 w 2051465"/>
                    <a:gd name="connsiteY178" fmla="*/ 1027007 h 2053850"/>
                    <a:gd name="connsiteX179" fmla="*/ 1697552 w 2051465"/>
                    <a:gd name="connsiteY179" fmla="*/ 1013987 h 2053850"/>
                    <a:gd name="connsiteX180" fmla="*/ 357363 w 2051465"/>
                    <a:gd name="connsiteY180" fmla="*/ 985180 h 2053850"/>
                    <a:gd name="connsiteX181" fmla="*/ 353114 w 2051465"/>
                    <a:gd name="connsiteY181" fmla="*/ 1013987 h 2053850"/>
                    <a:gd name="connsiteX182" fmla="*/ 326803 w 2051465"/>
                    <a:gd name="connsiteY182" fmla="*/ 1027007 h 2053850"/>
                    <a:gd name="connsiteX183" fmla="*/ 353114 w 2051465"/>
                    <a:gd name="connsiteY183" fmla="*/ 1039864 h 2053850"/>
                    <a:gd name="connsiteX184" fmla="*/ 357363 w 2051465"/>
                    <a:gd name="connsiteY184" fmla="*/ 1068670 h 2053850"/>
                    <a:gd name="connsiteX185" fmla="*/ 377790 w 2051465"/>
                    <a:gd name="connsiteY185" fmla="*/ 1047838 h 2053850"/>
                    <a:gd name="connsiteX186" fmla="*/ 406715 w 2051465"/>
                    <a:gd name="connsiteY186" fmla="*/ 1052721 h 2053850"/>
                    <a:gd name="connsiteX187" fmla="*/ 392988 w 2051465"/>
                    <a:gd name="connsiteY187" fmla="*/ 1027007 h 2053850"/>
                    <a:gd name="connsiteX188" fmla="*/ 406715 w 2051465"/>
                    <a:gd name="connsiteY188" fmla="*/ 1001130 h 2053850"/>
                    <a:gd name="connsiteX189" fmla="*/ 377790 w 2051465"/>
                    <a:gd name="connsiteY189" fmla="*/ 1006012 h 2053850"/>
                    <a:gd name="connsiteX190" fmla="*/ 1675871 w 2051465"/>
                    <a:gd name="connsiteY190" fmla="*/ 869487 h 2053850"/>
                    <a:gd name="connsiteX191" fmla="*/ 1659541 w 2051465"/>
                    <a:gd name="connsiteY191" fmla="*/ 893558 h 2053850"/>
                    <a:gd name="connsiteX192" fmla="*/ 1630438 w 2051465"/>
                    <a:gd name="connsiteY192" fmla="*/ 893721 h 2053850"/>
                    <a:gd name="connsiteX193" fmla="*/ 1648223 w 2051465"/>
                    <a:gd name="connsiteY193" fmla="*/ 916816 h 2053850"/>
                    <a:gd name="connsiteX194" fmla="*/ 1639493 w 2051465"/>
                    <a:gd name="connsiteY194" fmla="*/ 944628 h 2053850"/>
                    <a:gd name="connsiteX195" fmla="*/ 1666655 w 2051465"/>
                    <a:gd name="connsiteY195" fmla="*/ 934707 h 2053850"/>
                    <a:gd name="connsiteX196" fmla="*/ 1690261 w 2051465"/>
                    <a:gd name="connsiteY196" fmla="*/ 951784 h 2053850"/>
                    <a:gd name="connsiteX197" fmla="*/ 1689453 w 2051465"/>
                    <a:gd name="connsiteY197" fmla="*/ 922509 h 2053850"/>
                    <a:gd name="connsiteX198" fmla="*/ 1712735 w 2051465"/>
                    <a:gd name="connsiteY198" fmla="*/ 905269 h 2053850"/>
                    <a:gd name="connsiteX199" fmla="*/ 1684926 w 2051465"/>
                    <a:gd name="connsiteY199" fmla="*/ 897136 h 2053850"/>
                    <a:gd name="connsiteX200" fmla="*/ 374402 w 2051465"/>
                    <a:gd name="connsiteY200" fmla="*/ 869487 h 2053850"/>
                    <a:gd name="connsiteX201" fmla="*/ 365348 w 2051465"/>
                    <a:gd name="connsiteY201" fmla="*/ 897136 h 2053850"/>
                    <a:gd name="connsiteX202" fmla="*/ 337538 w 2051465"/>
                    <a:gd name="connsiteY202" fmla="*/ 905269 h 2053850"/>
                    <a:gd name="connsiteX203" fmla="*/ 360821 w 2051465"/>
                    <a:gd name="connsiteY203" fmla="*/ 922509 h 2053850"/>
                    <a:gd name="connsiteX204" fmla="*/ 360012 w 2051465"/>
                    <a:gd name="connsiteY204" fmla="*/ 951784 h 2053850"/>
                    <a:gd name="connsiteX205" fmla="*/ 383618 w 2051465"/>
                    <a:gd name="connsiteY205" fmla="*/ 934707 h 2053850"/>
                    <a:gd name="connsiteX206" fmla="*/ 410781 w 2051465"/>
                    <a:gd name="connsiteY206" fmla="*/ 944628 h 2053850"/>
                    <a:gd name="connsiteX207" fmla="*/ 402050 w 2051465"/>
                    <a:gd name="connsiteY207" fmla="*/ 916816 h 2053850"/>
                    <a:gd name="connsiteX208" fmla="*/ 419835 w 2051465"/>
                    <a:gd name="connsiteY208" fmla="*/ 893721 h 2053850"/>
                    <a:gd name="connsiteX209" fmla="*/ 390732 w 2051465"/>
                    <a:gd name="connsiteY209" fmla="*/ 893558 h 2053850"/>
                    <a:gd name="connsiteX210" fmla="*/ 1638921 w 2051465"/>
                    <a:gd name="connsiteY210" fmla="*/ 759758 h 2053850"/>
                    <a:gd name="connsiteX211" fmla="*/ 1626878 w 2051465"/>
                    <a:gd name="connsiteY211" fmla="*/ 785892 h 2053850"/>
                    <a:gd name="connsiteX212" fmla="*/ 1598234 w 2051465"/>
                    <a:gd name="connsiteY212" fmla="*/ 790991 h 2053850"/>
                    <a:gd name="connsiteX213" fmla="*/ 1619717 w 2051465"/>
                    <a:gd name="connsiteY213" fmla="*/ 810272 h 2053850"/>
                    <a:gd name="connsiteX214" fmla="*/ 1615811 w 2051465"/>
                    <a:gd name="connsiteY214" fmla="*/ 838477 h 2053850"/>
                    <a:gd name="connsiteX215" fmla="*/ 1641200 w 2051465"/>
                    <a:gd name="connsiteY215" fmla="*/ 824295 h 2053850"/>
                    <a:gd name="connsiteX216" fmla="*/ 1667402 w 2051465"/>
                    <a:gd name="connsiteY216" fmla="*/ 836724 h 2053850"/>
                    <a:gd name="connsiteX217" fmla="*/ 1661543 w 2051465"/>
                    <a:gd name="connsiteY217" fmla="*/ 808838 h 2053850"/>
                    <a:gd name="connsiteX218" fmla="*/ 1681724 w 2051465"/>
                    <a:gd name="connsiteY218" fmla="*/ 788123 h 2053850"/>
                    <a:gd name="connsiteX219" fmla="*/ 1652755 w 2051465"/>
                    <a:gd name="connsiteY219" fmla="*/ 784936 h 2053850"/>
                    <a:gd name="connsiteX220" fmla="*/ 411932 w 2051465"/>
                    <a:gd name="connsiteY220" fmla="*/ 759758 h 2053850"/>
                    <a:gd name="connsiteX221" fmla="*/ 398297 w 2051465"/>
                    <a:gd name="connsiteY221" fmla="*/ 784936 h 2053850"/>
                    <a:gd name="connsiteX222" fmla="*/ 369741 w 2051465"/>
                    <a:gd name="connsiteY222" fmla="*/ 788123 h 2053850"/>
                    <a:gd name="connsiteX223" fmla="*/ 389634 w 2051465"/>
                    <a:gd name="connsiteY223" fmla="*/ 808838 h 2053850"/>
                    <a:gd name="connsiteX224" fmla="*/ 383858 w 2051465"/>
                    <a:gd name="connsiteY224" fmla="*/ 836724 h 2053850"/>
                    <a:gd name="connsiteX225" fmla="*/ 409687 w 2051465"/>
                    <a:gd name="connsiteY225" fmla="*/ 824295 h 2053850"/>
                    <a:gd name="connsiteX226" fmla="*/ 434713 w 2051465"/>
                    <a:gd name="connsiteY226" fmla="*/ 838477 h 2053850"/>
                    <a:gd name="connsiteX227" fmla="*/ 430862 w 2051465"/>
                    <a:gd name="connsiteY227" fmla="*/ 810272 h 2053850"/>
                    <a:gd name="connsiteX228" fmla="*/ 452038 w 2051465"/>
                    <a:gd name="connsiteY228" fmla="*/ 790991 h 2053850"/>
                    <a:gd name="connsiteX229" fmla="*/ 423804 w 2051465"/>
                    <a:gd name="connsiteY229" fmla="*/ 785892 h 2053850"/>
                    <a:gd name="connsiteX230" fmla="*/ 1583584 w 2051465"/>
                    <a:gd name="connsiteY230" fmla="*/ 655992 h 2053850"/>
                    <a:gd name="connsiteX231" fmla="*/ 1576476 w 2051465"/>
                    <a:gd name="connsiteY231" fmla="*/ 684421 h 2053850"/>
                    <a:gd name="connsiteX232" fmla="*/ 1549333 w 2051465"/>
                    <a:gd name="connsiteY232" fmla="*/ 694551 h 2053850"/>
                    <a:gd name="connsiteX233" fmla="*/ 1573729 w 2051465"/>
                    <a:gd name="connsiteY233" fmla="*/ 710236 h 2053850"/>
                    <a:gd name="connsiteX234" fmla="*/ 1575022 w 2051465"/>
                    <a:gd name="connsiteY234" fmla="*/ 739482 h 2053850"/>
                    <a:gd name="connsiteX235" fmla="*/ 1597156 w 2051465"/>
                    <a:gd name="connsiteY235" fmla="*/ 720856 h 2053850"/>
                    <a:gd name="connsiteX236" fmla="*/ 1625106 w 2051465"/>
                    <a:gd name="connsiteY236" fmla="*/ 728699 h 2053850"/>
                    <a:gd name="connsiteX237" fmla="*/ 1614443 w 2051465"/>
                    <a:gd name="connsiteY237" fmla="*/ 701577 h 2053850"/>
                    <a:gd name="connsiteX238" fmla="*/ 1630437 w 2051465"/>
                    <a:gd name="connsiteY238" fmla="*/ 677232 h 2053850"/>
                    <a:gd name="connsiteX239" fmla="*/ 1601518 w 2051465"/>
                    <a:gd name="connsiteY239" fmla="*/ 679029 h 2053850"/>
                    <a:gd name="connsiteX240" fmla="*/ 467880 w 2051465"/>
                    <a:gd name="connsiteY240" fmla="*/ 655992 h 2053850"/>
                    <a:gd name="connsiteX241" fmla="*/ 449947 w 2051465"/>
                    <a:gd name="connsiteY241" fmla="*/ 679029 h 2053850"/>
                    <a:gd name="connsiteX242" fmla="*/ 421027 w 2051465"/>
                    <a:gd name="connsiteY242" fmla="*/ 677232 h 2053850"/>
                    <a:gd name="connsiteX243" fmla="*/ 437022 w 2051465"/>
                    <a:gd name="connsiteY243" fmla="*/ 701577 h 2053850"/>
                    <a:gd name="connsiteX244" fmla="*/ 426359 w 2051465"/>
                    <a:gd name="connsiteY244" fmla="*/ 728699 h 2053850"/>
                    <a:gd name="connsiteX245" fmla="*/ 454309 w 2051465"/>
                    <a:gd name="connsiteY245" fmla="*/ 720856 h 2053850"/>
                    <a:gd name="connsiteX246" fmla="*/ 476443 w 2051465"/>
                    <a:gd name="connsiteY246" fmla="*/ 739482 h 2053850"/>
                    <a:gd name="connsiteX247" fmla="*/ 477735 w 2051465"/>
                    <a:gd name="connsiteY247" fmla="*/ 710236 h 2053850"/>
                    <a:gd name="connsiteX248" fmla="*/ 502131 w 2051465"/>
                    <a:gd name="connsiteY248" fmla="*/ 694551 h 2053850"/>
                    <a:gd name="connsiteX249" fmla="*/ 474989 w 2051465"/>
                    <a:gd name="connsiteY249" fmla="*/ 684421 h 2053850"/>
                    <a:gd name="connsiteX250" fmla="*/ 1510799 w 2051465"/>
                    <a:gd name="connsiteY250" fmla="*/ 565346 h 2053850"/>
                    <a:gd name="connsiteX251" fmla="*/ 1508557 w 2051465"/>
                    <a:gd name="connsiteY251" fmla="*/ 594118 h 2053850"/>
                    <a:gd name="connsiteX252" fmla="*/ 1483734 w 2051465"/>
                    <a:gd name="connsiteY252" fmla="*/ 608584 h 2053850"/>
                    <a:gd name="connsiteX253" fmla="*/ 1510318 w 2051465"/>
                    <a:gd name="connsiteY253" fmla="*/ 619514 h 2053850"/>
                    <a:gd name="connsiteX254" fmla="*/ 1516404 w 2051465"/>
                    <a:gd name="connsiteY254" fmla="*/ 647643 h 2053850"/>
                    <a:gd name="connsiteX255" fmla="*/ 1534980 w 2051465"/>
                    <a:gd name="connsiteY255" fmla="*/ 625783 h 2053850"/>
                    <a:gd name="connsiteX256" fmla="*/ 1563646 w 2051465"/>
                    <a:gd name="connsiteY256" fmla="*/ 628516 h 2053850"/>
                    <a:gd name="connsiteX257" fmla="*/ 1548593 w 2051465"/>
                    <a:gd name="connsiteY257" fmla="*/ 604084 h 2053850"/>
                    <a:gd name="connsiteX258" fmla="*/ 1560123 w 2051465"/>
                    <a:gd name="connsiteY258" fmla="*/ 577723 h 2053850"/>
                    <a:gd name="connsiteX259" fmla="*/ 1532098 w 2051465"/>
                    <a:gd name="connsiteY259" fmla="*/ 584474 h 2053850"/>
                    <a:gd name="connsiteX260" fmla="*/ 540263 w 2051465"/>
                    <a:gd name="connsiteY260" fmla="*/ 565346 h 2053850"/>
                    <a:gd name="connsiteX261" fmla="*/ 518646 w 2051465"/>
                    <a:gd name="connsiteY261" fmla="*/ 584474 h 2053850"/>
                    <a:gd name="connsiteX262" fmla="*/ 490203 w 2051465"/>
                    <a:gd name="connsiteY262" fmla="*/ 577723 h 2053850"/>
                    <a:gd name="connsiteX263" fmla="*/ 502068 w 2051465"/>
                    <a:gd name="connsiteY263" fmla="*/ 604084 h 2053850"/>
                    <a:gd name="connsiteX264" fmla="*/ 486627 w 2051465"/>
                    <a:gd name="connsiteY264" fmla="*/ 628516 h 2053850"/>
                    <a:gd name="connsiteX265" fmla="*/ 515721 w 2051465"/>
                    <a:gd name="connsiteY265" fmla="*/ 625783 h 2053850"/>
                    <a:gd name="connsiteX266" fmla="*/ 534575 w 2051465"/>
                    <a:gd name="connsiteY266" fmla="*/ 647643 h 2053850"/>
                    <a:gd name="connsiteX267" fmla="*/ 540751 w 2051465"/>
                    <a:gd name="connsiteY267" fmla="*/ 619514 h 2053850"/>
                    <a:gd name="connsiteX268" fmla="*/ 567731 w 2051465"/>
                    <a:gd name="connsiteY268" fmla="*/ 608584 h 2053850"/>
                    <a:gd name="connsiteX269" fmla="*/ 542539 w 2051465"/>
                    <a:gd name="connsiteY269" fmla="*/ 594118 h 2053850"/>
                    <a:gd name="connsiteX270" fmla="*/ 1422950 w 2051465"/>
                    <a:gd name="connsiteY270" fmla="*/ 487819 h 2053850"/>
                    <a:gd name="connsiteX271" fmla="*/ 1425843 w 2051465"/>
                    <a:gd name="connsiteY271" fmla="*/ 516913 h 2053850"/>
                    <a:gd name="connsiteX272" fmla="*/ 1403822 w 2051465"/>
                    <a:gd name="connsiteY272" fmla="*/ 535766 h 2053850"/>
                    <a:gd name="connsiteX273" fmla="*/ 1431951 w 2051465"/>
                    <a:gd name="connsiteY273" fmla="*/ 541943 h 2053850"/>
                    <a:gd name="connsiteX274" fmla="*/ 1442881 w 2051465"/>
                    <a:gd name="connsiteY274" fmla="*/ 568923 h 2053850"/>
                    <a:gd name="connsiteX275" fmla="*/ 1457347 w 2051465"/>
                    <a:gd name="connsiteY275" fmla="*/ 543731 h 2053850"/>
                    <a:gd name="connsiteX276" fmla="*/ 1486119 w 2051465"/>
                    <a:gd name="connsiteY276" fmla="*/ 541618 h 2053850"/>
                    <a:gd name="connsiteX277" fmla="*/ 1466992 w 2051465"/>
                    <a:gd name="connsiteY277" fmla="*/ 519838 h 2053850"/>
                    <a:gd name="connsiteX278" fmla="*/ 1473743 w 2051465"/>
                    <a:gd name="connsiteY278" fmla="*/ 491557 h 2053850"/>
                    <a:gd name="connsiteX279" fmla="*/ 1447382 w 2051465"/>
                    <a:gd name="connsiteY279" fmla="*/ 503260 h 2053850"/>
                    <a:gd name="connsiteX280" fmla="*/ 627323 w 2051465"/>
                    <a:gd name="connsiteY280" fmla="*/ 487819 h 2053850"/>
                    <a:gd name="connsiteX281" fmla="*/ 602891 w 2051465"/>
                    <a:gd name="connsiteY281" fmla="*/ 503260 h 2053850"/>
                    <a:gd name="connsiteX282" fmla="*/ 576530 w 2051465"/>
                    <a:gd name="connsiteY282" fmla="*/ 491557 h 2053850"/>
                    <a:gd name="connsiteX283" fmla="*/ 583281 w 2051465"/>
                    <a:gd name="connsiteY283" fmla="*/ 519838 h 2053850"/>
                    <a:gd name="connsiteX284" fmla="*/ 564153 w 2051465"/>
                    <a:gd name="connsiteY284" fmla="*/ 541618 h 2053850"/>
                    <a:gd name="connsiteX285" fmla="*/ 592925 w 2051465"/>
                    <a:gd name="connsiteY285" fmla="*/ 543731 h 2053850"/>
                    <a:gd name="connsiteX286" fmla="*/ 607391 w 2051465"/>
                    <a:gd name="connsiteY286" fmla="*/ 568923 h 2053850"/>
                    <a:gd name="connsiteX287" fmla="*/ 618321 w 2051465"/>
                    <a:gd name="connsiteY287" fmla="*/ 541943 h 2053850"/>
                    <a:gd name="connsiteX288" fmla="*/ 646450 w 2051465"/>
                    <a:gd name="connsiteY288" fmla="*/ 535766 h 2053850"/>
                    <a:gd name="connsiteX289" fmla="*/ 624429 w 2051465"/>
                    <a:gd name="connsiteY289" fmla="*/ 516913 h 2053850"/>
                    <a:gd name="connsiteX290" fmla="*/ 1374698 w 2051465"/>
                    <a:gd name="connsiteY290" fmla="*/ 421027 h 2053850"/>
                    <a:gd name="connsiteX291" fmla="*/ 1350701 w 2051465"/>
                    <a:gd name="connsiteY291" fmla="*/ 437421 h 2053850"/>
                    <a:gd name="connsiteX292" fmla="*/ 1323806 w 2051465"/>
                    <a:gd name="connsiteY292" fmla="*/ 426437 h 2053850"/>
                    <a:gd name="connsiteX293" fmla="*/ 1331697 w 2051465"/>
                    <a:gd name="connsiteY293" fmla="*/ 454798 h 2053850"/>
                    <a:gd name="connsiteX294" fmla="*/ 1313176 w 2051465"/>
                    <a:gd name="connsiteY294" fmla="*/ 477422 h 2053850"/>
                    <a:gd name="connsiteX295" fmla="*/ 1342004 w 2051465"/>
                    <a:gd name="connsiteY295" fmla="*/ 478569 h 2053850"/>
                    <a:gd name="connsiteX296" fmla="*/ 1357465 w 2051465"/>
                    <a:gd name="connsiteY296" fmla="*/ 503324 h 2053850"/>
                    <a:gd name="connsiteX297" fmla="*/ 1367450 w 2051465"/>
                    <a:gd name="connsiteY297" fmla="*/ 475783 h 2053850"/>
                    <a:gd name="connsiteX298" fmla="*/ 1395473 w 2051465"/>
                    <a:gd name="connsiteY298" fmla="*/ 468569 h 2053850"/>
                    <a:gd name="connsiteX299" fmla="*/ 1372765 w 2051465"/>
                    <a:gd name="connsiteY299" fmla="*/ 450372 h 2053850"/>
                    <a:gd name="connsiteX300" fmla="*/ 676768 w 2051465"/>
                    <a:gd name="connsiteY300" fmla="*/ 421027 h 2053850"/>
                    <a:gd name="connsiteX301" fmla="*/ 678700 w 2051465"/>
                    <a:gd name="connsiteY301" fmla="*/ 450372 h 2053850"/>
                    <a:gd name="connsiteX302" fmla="*/ 655992 w 2051465"/>
                    <a:gd name="connsiteY302" fmla="*/ 468569 h 2053850"/>
                    <a:gd name="connsiteX303" fmla="*/ 684015 w 2051465"/>
                    <a:gd name="connsiteY303" fmla="*/ 475783 h 2053850"/>
                    <a:gd name="connsiteX304" fmla="*/ 694000 w 2051465"/>
                    <a:gd name="connsiteY304" fmla="*/ 503324 h 2053850"/>
                    <a:gd name="connsiteX305" fmla="*/ 709461 w 2051465"/>
                    <a:gd name="connsiteY305" fmla="*/ 478569 h 2053850"/>
                    <a:gd name="connsiteX306" fmla="*/ 738289 w 2051465"/>
                    <a:gd name="connsiteY306" fmla="*/ 477422 h 2053850"/>
                    <a:gd name="connsiteX307" fmla="*/ 719768 w 2051465"/>
                    <a:gd name="connsiteY307" fmla="*/ 454798 h 2053850"/>
                    <a:gd name="connsiteX308" fmla="*/ 727660 w 2051465"/>
                    <a:gd name="connsiteY308" fmla="*/ 426437 h 2053850"/>
                    <a:gd name="connsiteX309" fmla="*/ 700764 w 2051465"/>
                    <a:gd name="connsiteY309" fmla="*/ 437421 h 2053850"/>
                    <a:gd name="connsiteX310" fmla="*/ 1264106 w 2051465"/>
                    <a:gd name="connsiteY310" fmla="*/ 369741 h 2053850"/>
                    <a:gd name="connsiteX311" fmla="*/ 1243238 w 2051465"/>
                    <a:gd name="connsiteY311" fmla="*/ 389883 h 2053850"/>
                    <a:gd name="connsiteX312" fmla="*/ 1214768 w 2051465"/>
                    <a:gd name="connsiteY312" fmla="*/ 384035 h 2053850"/>
                    <a:gd name="connsiteX313" fmla="*/ 1227385 w 2051465"/>
                    <a:gd name="connsiteY313" fmla="*/ 410187 h 2053850"/>
                    <a:gd name="connsiteX314" fmla="*/ 1212988 w 2051465"/>
                    <a:gd name="connsiteY314" fmla="*/ 435526 h 2053850"/>
                    <a:gd name="connsiteX315" fmla="*/ 1241782 w 2051465"/>
                    <a:gd name="connsiteY315" fmla="*/ 431628 h 2053850"/>
                    <a:gd name="connsiteX316" fmla="*/ 1261194 w 2051465"/>
                    <a:gd name="connsiteY316" fmla="*/ 453231 h 2053850"/>
                    <a:gd name="connsiteX317" fmla="*/ 1266371 w 2051465"/>
                    <a:gd name="connsiteY317" fmla="*/ 424481 h 2053850"/>
                    <a:gd name="connsiteX318" fmla="*/ 1292900 w 2051465"/>
                    <a:gd name="connsiteY318" fmla="*/ 412461 h 2053850"/>
                    <a:gd name="connsiteX319" fmla="*/ 1267341 w 2051465"/>
                    <a:gd name="connsiteY319" fmla="*/ 398654 h 2053850"/>
                    <a:gd name="connsiteX320" fmla="*/ 786930 w 2051465"/>
                    <a:gd name="connsiteY320" fmla="*/ 369741 h 2053850"/>
                    <a:gd name="connsiteX321" fmla="*/ 783743 w 2051465"/>
                    <a:gd name="connsiteY321" fmla="*/ 398654 h 2053850"/>
                    <a:gd name="connsiteX322" fmla="*/ 758565 w 2051465"/>
                    <a:gd name="connsiteY322" fmla="*/ 412461 h 2053850"/>
                    <a:gd name="connsiteX323" fmla="*/ 784699 w 2051465"/>
                    <a:gd name="connsiteY323" fmla="*/ 424481 h 2053850"/>
                    <a:gd name="connsiteX324" fmla="*/ 789798 w 2051465"/>
                    <a:gd name="connsiteY324" fmla="*/ 453231 h 2053850"/>
                    <a:gd name="connsiteX325" fmla="*/ 808920 w 2051465"/>
                    <a:gd name="connsiteY325" fmla="*/ 431628 h 2053850"/>
                    <a:gd name="connsiteX326" fmla="*/ 837284 w 2051465"/>
                    <a:gd name="connsiteY326" fmla="*/ 435526 h 2053850"/>
                    <a:gd name="connsiteX327" fmla="*/ 823102 w 2051465"/>
                    <a:gd name="connsiteY327" fmla="*/ 410187 h 2053850"/>
                    <a:gd name="connsiteX328" fmla="*/ 835531 w 2051465"/>
                    <a:gd name="connsiteY328" fmla="*/ 384035 h 2053850"/>
                    <a:gd name="connsiteX329" fmla="*/ 807486 w 2051465"/>
                    <a:gd name="connsiteY329" fmla="*/ 389883 h 2053850"/>
                    <a:gd name="connsiteX330" fmla="*/ 1146715 w 2051465"/>
                    <a:gd name="connsiteY330" fmla="*/ 338730 h 2053850"/>
                    <a:gd name="connsiteX331" fmla="*/ 1129724 w 2051465"/>
                    <a:gd name="connsiteY331" fmla="*/ 362174 h 2053850"/>
                    <a:gd name="connsiteX332" fmla="*/ 1100873 w 2051465"/>
                    <a:gd name="connsiteY332" fmla="*/ 361204 h 2053850"/>
                    <a:gd name="connsiteX333" fmla="*/ 1117703 w 2051465"/>
                    <a:gd name="connsiteY333" fmla="*/ 384810 h 2053850"/>
                    <a:gd name="connsiteX334" fmla="*/ 1108086 w 2051465"/>
                    <a:gd name="connsiteY334" fmla="*/ 412135 h 2053850"/>
                    <a:gd name="connsiteX335" fmla="*/ 1135334 w 2051465"/>
                    <a:gd name="connsiteY335" fmla="*/ 403242 h 2053850"/>
                    <a:gd name="connsiteX336" fmla="*/ 1158095 w 2051465"/>
                    <a:gd name="connsiteY336" fmla="*/ 421027 h 2053850"/>
                    <a:gd name="connsiteX337" fmla="*/ 1158255 w 2051465"/>
                    <a:gd name="connsiteY337" fmla="*/ 391924 h 2053850"/>
                    <a:gd name="connsiteX338" fmla="*/ 1181977 w 2051465"/>
                    <a:gd name="connsiteY338" fmla="*/ 375594 h 2053850"/>
                    <a:gd name="connsiteX339" fmla="*/ 1154729 w 2051465"/>
                    <a:gd name="connsiteY339" fmla="*/ 366540 h 2053850"/>
                    <a:gd name="connsiteX340" fmla="*/ 904076 w 2051465"/>
                    <a:gd name="connsiteY340" fmla="*/ 338730 h 2053850"/>
                    <a:gd name="connsiteX341" fmla="*/ 895943 w 2051465"/>
                    <a:gd name="connsiteY341" fmla="*/ 366540 h 2053850"/>
                    <a:gd name="connsiteX342" fmla="*/ 868294 w 2051465"/>
                    <a:gd name="connsiteY342" fmla="*/ 375594 h 2053850"/>
                    <a:gd name="connsiteX343" fmla="*/ 892365 w 2051465"/>
                    <a:gd name="connsiteY343" fmla="*/ 391924 h 2053850"/>
                    <a:gd name="connsiteX344" fmla="*/ 892528 w 2051465"/>
                    <a:gd name="connsiteY344" fmla="*/ 421027 h 2053850"/>
                    <a:gd name="connsiteX345" fmla="*/ 915623 w 2051465"/>
                    <a:gd name="connsiteY345" fmla="*/ 403242 h 2053850"/>
                    <a:gd name="connsiteX346" fmla="*/ 943272 w 2051465"/>
                    <a:gd name="connsiteY346" fmla="*/ 412135 h 2053850"/>
                    <a:gd name="connsiteX347" fmla="*/ 933514 w 2051465"/>
                    <a:gd name="connsiteY347" fmla="*/ 384810 h 2053850"/>
                    <a:gd name="connsiteX348" fmla="*/ 950591 w 2051465"/>
                    <a:gd name="connsiteY348" fmla="*/ 361204 h 2053850"/>
                    <a:gd name="connsiteX349" fmla="*/ 921316 w 2051465"/>
                    <a:gd name="connsiteY349" fmla="*/ 362174 h 2053850"/>
                    <a:gd name="connsiteX350" fmla="*/ 1025815 w 2051465"/>
                    <a:gd name="connsiteY350" fmla="*/ 327996 h 2053850"/>
                    <a:gd name="connsiteX351" fmla="*/ 1012795 w 2051465"/>
                    <a:gd name="connsiteY351" fmla="*/ 353914 h 2053850"/>
                    <a:gd name="connsiteX352" fmla="*/ 983988 w 2051465"/>
                    <a:gd name="connsiteY352" fmla="*/ 358099 h 2053850"/>
                    <a:gd name="connsiteX353" fmla="*/ 1004820 w 2051465"/>
                    <a:gd name="connsiteY353" fmla="*/ 378222 h 2053850"/>
                    <a:gd name="connsiteX354" fmla="*/ 999938 w 2051465"/>
                    <a:gd name="connsiteY354" fmla="*/ 406715 h 2053850"/>
                    <a:gd name="connsiteX355" fmla="*/ 1025815 w 2051465"/>
                    <a:gd name="connsiteY355" fmla="*/ 393193 h 2053850"/>
                    <a:gd name="connsiteX356" fmla="*/ 1051529 w 2051465"/>
                    <a:gd name="connsiteY356" fmla="*/ 406715 h 2053850"/>
                    <a:gd name="connsiteX357" fmla="*/ 1046646 w 2051465"/>
                    <a:gd name="connsiteY357" fmla="*/ 378222 h 2053850"/>
                    <a:gd name="connsiteX358" fmla="*/ 1067478 w 2051465"/>
                    <a:gd name="connsiteY358" fmla="*/ 358099 h 2053850"/>
                    <a:gd name="connsiteX359" fmla="*/ 1038672 w 2051465"/>
                    <a:gd name="connsiteY359" fmla="*/ 353914 h 2053850"/>
                    <a:gd name="connsiteX360" fmla="*/ 1021692 w 2051465"/>
                    <a:gd name="connsiteY360" fmla="*/ 287509 h 2053850"/>
                    <a:gd name="connsiteX361" fmla="*/ 1748629 w 2051465"/>
                    <a:gd name="connsiteY361" fmla="*/ 1014446 h 2053850"/>
                    <a:gd name="connsiteX362" fmla="*/ 1021692 w 2051465"/>
                    <a:gd name="connsiteY362" fmla="*/ 1741383 h 2053850"/>
                    <a:gd name="connsiteX363" fmla="*/ 294755 w 2051465"/>
                    <a:gd name="connsiteY363" fmla="*/ 1014446 h 2053850"/>
                    <a:gd name="connsiteX364" fmla="*/ 1021692 w 2051465"/>
                    <a:gd name="connsiteY364" fmla="*/ 287509 h 2053850"/>
                    <a:gd name="connsiteX365" fmla="*/ 1021692 w 2051465"/>
                    <a:gd name="connsiteY365" fmla="*/ 204488 h 2053850"/>
                    <a:gd name="connsiteX366" fmla="*/ 211734 w 2051465"/>
                    <a:gd name="connsiteY366" fmla="*/ 1014446 h 2053850"/>
                    <a:gd name="connsiteX367" fmla="*/ 1021692 w 2051465"/>
                    <a:gd name="connsiteY367" fmla="*/ 1824404 h 2053850"/>
                    <a:gd name="connsiteX368" fmla="*/ 1831650 w 2051465"/>
                    <a:gd name="connsiteY368" fmla="*/ 1014446 h 2053850"/>
                    <a:gd name="connsiteX369" fmla="*/ 1021692 w 2051465"/>
                    <a:gd name="connsiteY369" fmla="*/ 204488 h 2053850"/>
                    <a:gd name="connsiteX370" fmla="*/ 1025813 w 2051465"/>
                    <a:gd name="connsiteY370" fmla="*/ 0 h 2053850"/>
                    <a:gd name="connsiteX371" fmla="*/ 1266289 w 2051465"/>
                    <a:gd name="connsiteY371" fmla="*/ 127810 h 2053850"/>
                    <a:gd name="connsiteX372" fmla="*/ 1538559 w 2051465"/>
                    <a:gd name="connsiteY372" fmla="*/ 137667 h 2053850"/>
                    <a:gd name="connsiteX373" fmla="*/ 1683167 w 2051465"/>
                    <a:gd name="connsiteY373" fmla="*/ 368727 h 2053850"/>
                    <a:gd name="connsiteX374" fmla="*/ 1913958 w 2051465"/>
                    <a:gd name="connsiteY374" fmla="*/ 513503 h 2053850"/>
                    <a:gd name="connsiteX375" fmla="*/ 1923803 w 2051465"/>
                    <a:gd name="connsiteY375" fmla="*/ 786089 h 2053850"/>
                    <a:gd name="connsiteX376" fmla="*/ 2051465 w 2051465"/>
                    <a:gd name="connsiteY376" fmla="*/ 1027006 h 2053850"/>
                    <a:gd name="connsiteX377" fmla="*/ 1923803 w 2051465"/>
                    <a:gd name="connsiteY377" fmla="*/ 1267923 h 2053850"/>
                    <a:gd name="connsiteX378" fmla="*/ 1913958 w 2051465"/>
                    <a:gd name="connsiteY378" fmla="*/ 1540347 h 2053850"/>
                    <a:gd name="connsiteX379" fmla="*/ 1683167 w 2051465"/>
                    <a:gd name="connsiteY379" fmla="*/ 1685123 h 2053850"/>
                    <a:gd name="connsiteX380" fmla="*/ 1538559 w 2051465"/>
                    <a:gd name="connsiteY380" fmla="*/ 1916345 h 2053850"/>
                    <a:gd name="connsiteX381" fmla="*/ 1266289 w 2051465"/>
                    <a:gd name="connsiteY381" fmla="*/ 1926040 h 2053850"/>
                    <a:gd name="connsiteX382" fmla="*/ 1025813 w 2051465"/>
                    <a:gd name="connsiteY382" fmla="*/ 2053850 h 2053850"/>
                    <a:gd name="connsiteX383" fmla="*/ 785177 w 2051465"/>
                    <a:gd name="connsiteY383" fmla="*/ 1926040 h 2053850"/>
                    <a:gd name="connsiteX384" fmla="*/ 512907 w 2051465"/>
                    <a:gd name="connsiteY384" fmla="*/ 1916345 h 2053850"/>
                    <a:gd name="connsiteX385" fmla="*/ 368299 w 2051465"/>
                    <a:gd name="connsiteY385" fmla="*/ 1685123 h 2053850"/>
                    <a:gd name="connsiteX386" fmla="*/ 137507 w 2051465"/>
                    <a:gd name="connsiteY386" fmla="*/ 1540347 h 2053850"/>
                    <a:gd name="connsiteX387" fmla="*/ 127662 w 2051465"/>
                    <a:gd name="connsiteY387" fmla="*/ 1267923 h 2053850"/>
                    <a:gd name="connsiteX388" fmla="*/ 0 w 2051465"/>
                    <a:gd name="connsiteY388" fmla="*/ 1027006 h 2053850"/>
                    <a:gd name="connsiteX389" fmla="*/ 127662 w 2051465"/>
                    <a:gd name="connsiteY389" fmla="*/ 786089 h 2053850"/>
                    <a:gd name="connsiteX390" fmla="*/ 137507 w 2051465"/>
                    <a:gd name="connsiteY390" fmla="*/ 513503 h 2053850"/>
                    <a:gd name="connsiteX391" fmla="*/ 368299 w 2051465"/>
                    <a:gd name="connsiteY391" fmla="*/ 368727 h 2053850"/>
                    <a:gd name="connsiteX392" fmla="*/ 512907 w 2051465"/>
                    <a:gd name="connsiteY392" fmla="*/ 137667 h 2053850"/>
                    <a:gd name="connsiteX393" fmla="*/ 785177 w 2051465"/>
                    <a:gd name="connsiteY393" fmla="*/ 127810 h 2053850"/>
                    <a:gd name="connsiteX394" fmla="*/ 1025813 w 2051465"/>
                    <a:gd name="connsiteY394" fmla="*/ 0 h 2053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</a:cxnLst>
                  <a:rect l="l" t="t" r="r" b="b"/>
                  <a:pathLst>
                    <a:path w="2051465" h="2053850">
                      <a:moveTo>
                        <a:pt x="999938" y="1647136"/>
                      </a:moveTo>
                      <a:lnTo>
                        <a:pt x="1004820" y="1675527"/>
                      </a:lnTo>
                      <a:lnTo>
                        <a:pt x="983988" y="1695690"/>
                      </a:lnTo>
                      <a:lnTo>
                        <a:pt x="1012795" y="1699884"/>
                      </a:lnTo>
                      <a:lnTo>
                        <a:pt x="1025815" y="1725855"/>
                      </a:lnTo>
                      <a:lnTo>
                        <a:pt x="1038672" y="1699884"/>
                      </a:lnTo>
                      <a:lnTo>
                        <a:pt x="1067478" y="1695690"/>
                      </a:lnTo>
                      <a:lnTo>
                        <a:pt x="1046646" y="1675527"/>
                      </a:lnTo>
                      <a:lnTo>
                        <a:pt x="1051529" y="1647136"/>
                      </a:lnTo>
                      <a:lnTo>
                        <a:pt x="1025815" y="1660525"/>
                      </a:lnTo>
                      <a:close/>
                      <a:moveTo>
                        <a:pt x="1158095" y="1634016"/>
                      </a:moveTo>
                      <a:lnTo>
                        <a:pt x="1135334" y="1651418"/>
                      </a:lnTo>
                      <a:lnTo>
                        <a:pt x="1108086" y="1642797"/>
                      </a:lnTo>
                      <a:lnTo>
                        <a:pt x="1117703" y="1669779"/>
                      </a:lnTo>
                      <a:lnTo>
                        <a:pt x="1100873" y="1692928"/>
                      </a:lnTo>
                      <a:lnTo>
                        <a:pt x="1129724" y="1692130"/>
                      </a:lnTo>
                      <a:lnTo>
                        <a:pt x="1146715" y="1715120"/>
                      </a:lnTo>
                      <a:lnTo>
                        <a:pt x="1154729" y="1687660"/>
                      </a:lnTo>
                      <a:lnTo>
                        <a:pt x="1181977" y="1678719"/>
                      </a:lnTo>
                      <a:lnTo>
                        <a:pt x="1158255" y="1662594"/>
                      </a:lnTo>
                      <a:close/>
                      <a:moveTo>
                        <a:pt x="892528" y="1634016"/>
                      </a:moveTo>
                      <a:lnTo>
                        <a:pt x="892365" y="1662594"/>
                      </a:lnTo>
                      <a:lnTo>
                        <a:pt x="868294" y="1678719"/>
                      </a:lnTo>
                      <a:lnTo>
                        <a:pt x="895943" y="1687660"/>
                      </a:lnTo>
                      <a:lnTo>
                        <a:pt x="904076" y="1715120"/>
                      </a:lnTo>
                      <a:lnTo>
                        <a:pt x="921316" y="1692130"/>
                      </a:lnTo>
                      <a:lnTo>
                        <a:pt x="950591" y="1692928"/>
                      </a:lnTo>
                      <a:lnTo>
                        <a:pt x="933514" y="1669779"/>
                      </a:lnTo>
                      <a:lnTo>
                        <a:pt x="943272" y="1642797"/>
                      </a:lnTo>
                      <a:lnTo>
                        <a:pt x="915623" y="1651418"/>
                      </a:lnTo>
                      <a:close/>
                      <a:moveTo>
                        <a:pt x="1261194" y="1600620"/>
                      </a:moveTo>
                      <a:lnTo>
                        <a:pt x="1241782" y="1622103"/>
                      </a:lnTo>
                      <a:lnTo>
                        <a:pt x="1212988" y="1618197"/>
                      </a:lnTo>
                      <a:lnTo>
                        <a:pt x="1227385" y="1643586"/>
                      </a:lnTo>
                      <a:lnTo>
                        <a:pt x="1214768" y="1669951"/>
                      </a:lnTo>
                      <a:lnTo>
                        <a:pt x="1243238" y="1663929"/>
                      </a:lnTo>
                      <a:lnTo>
                        <a:pt x="1264106" y="1684110"/>
                      </a:lnTo>
                      <a:lnTo>
                        <a:pt x="1267341" y="1655141"/>
                      </a:lnTo>
                      <a:lnTo>
                        <a:pt x="1292900" y="1641307"/>
                      </a:lnTo>
                      <a:lnTo>
                        <a:pt x="1266371" y="1629264"/>
                      </a:lnTo>
                      <a:close/>
                      <a:moveTo>
                        <a:pt x="789798" y="1600620"/>
                      </a:moveTo>
                      <a:lnTo>
                        <a:pt x="784699" y="1629264"/>
                      </a:lnTo>
                      <a:lnTo>
                        <a:pt x="758565" y="1641307"/>
                      </a:lnTo>
                      <a:lnTo>
                        <a:pt x="783743" y="1655141"/>
                      </a:lnTo>
                      <a:lnTo>
                        <a:pt x="786930" y="1684110"/>
                      </a:lnTo>
                      <a:lnTo>
                        <a:pt x="807486" y="1663929"/>
                      </a:lnTo>
                      <a:lnTo>
                        <a:pt x="835531" y="1669951"/>
                      </a:lnTo>
                      <a:lnTo>
                        <a:pt x="823102" y="1643586"/>
                      </a:lnTo>
                      <a:lnTo>
                        <a:pt x="837284" y="1618197"/>
                      </a:lnTo>
                      <a:lnTo>
                        <a:pt x="808920" y="1622103"/>
                      </a:lnTo>
                      <a:close/>
                      <a:moveTo>
                        <a:pt x="1357465" y="1551719"/>
                      </a:moveTo>
                      <a:lnTo>
                        <a:pt x="1342004" y="1576277"/>
                      </a:lnTo>
                      <a:lnTo>
                        <a:pt x="1313176" y="1577408"/>
                      </a:lnTo>
                      <a:lnTo>
                        <a:pt x="1331697" y="1599703"/>
                      </a:lnTo>
                      <a:lnTo>
                        <a:pt x="1323806" y="1627492"/>
                      </a:lnTo>
                      <a:lnTo>
                        <a:pt x="1350701" y="1616829"/>
                      </a:lnTo>
                      <a:lnTo>
                        <a:pt x="1374698" y="1632823"/>
                      </a:lnTo>
                      <a:lnTo>
                        <a:pt x="1372765" y="1603904"/>
                      </a:lnTo>
                      <a:lnTo>
                        <a:pt x="1395473" y="1585970"/>
                      </a:lnTo>
                      <a:lnTo>
                        <a:pt x="1367450" y="1578862"/>
                      </a:lnTo>
                      <a:close/>
                      <a:moveTo>
                        <a:pt x="694000" y="1551719"/>
                      </a:moveTo>
                      <a:lnTo>
                        <a:pt x="684015" y="1578862"/>
                      </a:lnTo>
                      <a:lnTo>
                        <a:pt x="655992" y="1585970"/>
                      </a:lnTo>
                      <a:lnTo>
                        <a:pt x="678700" y="1603904"/>
                      </a:lnTo>
                      <a:lnTo>
                        <a:pt x="676768" y="1632823"/>
                      </a:lnTo>
                      <a:lnTo>
                        <a:pt x="700764" y="1616829"/>
                      </a:lnTo>
                      <a:lnTo>
                        <a:pt x="727660" y="1627492"/>
                      </a:lnTo>
                      <a:lnTo>
                        <a:pt x="719768" y="1599703"/>
                      </a:lnTo>
                      <a:lnTo>
                        <a:pt x="738289" y="1577408"/>
                      </a:lnTo>
                      <a:lnTo>
                        <a:pt x="709461" y="1576277"/>
                      </a:lnTo>
                      <a:close/>
                      <a:moveTo>
                        <a:pt x="1442881" y="1486119"/>
                      </a:moveTo>
                      <a:lnTo>
                        <a:pt x="1431951" y="1512757"/>
                      </a:lnTo>
                      <a:lnTo>
                        <a:pt x="1403822" y="1518854"/>
                      </a:lnTo>
                      <a:lnTo>
                        <a:pt x="1425843" y="1537468"/>
                      </a:lnTo>
                      <a:lnTo>
                        <a:pt x="1422950" y="1566031"/>
                      </a:lnTo>
                      <a:lnTo>
                        <a:pt x="1447382" y="1550947"/>
                      </a:lnTo>
                      <a:lnTo>
                        <a:pt x="1473743" y="1562501"/>
                      </a:lnTo>
                      <a:lnTo>
                        <a:pt x="1466992" y="1534580"/>
                      </a:lnTo>
                      <a:lnTo>
                        <a:pt x="1486119" y="1513078"/>
                      </a:lnTo>
                      <a:lnTo>
                        <a:pt x="1457347" y="1510831"/>
                      </a:lnTo>
                      <a:close/>
                      <a:moveTo>
                        <a:pt x="607391" y="1486119"/>
                      </a:moveTo>
                      <a:lnTo>
                        <a:pt x="592925" y="1510831"/>
                      </a:lnTo>
                      <a:lnTo>
                        <a:pt x="564153" y="1513078"/>
                      </a:lnTo>
                      <a:lnTo>
                        <a:pt x="583281" y="1534580"/>
                      </a:lnTo>
                      <a:lnTo>
                        <a:pt x="576530" y="1562501"/>
                      </a:lnTo>
                      <a:lnTo>
                        <a:pt x="602891" y="1550947"/>
                      </a:lnTo>
                      <a:lnTo>
                        <a:pt x="627323" y="1566031"/>
                      </a:lnTo>
                      <a:lnTo>
                        <a:pt x="624429" y="1537468"/>
                      </a:lnTo>
                      <a:lnTo>
                        <a:pt x="646450" y="1518854"/>
                      </a:lnTo>
                      <a:lnTo>
                        <a:pt x="618321" y="1512757"/>
                      </a:lnTo>
                      <a:close/>
                      <a:moveTo>
                        <a:pt x="1516404" y="1406208"/>
                      </a:moveTo>
                      <a:lnTo>
                        <a:pt x="1510318" y="1434337"/>
                      </a:lnTo>
                      <a:lnTo>
                        <a:pt x="1483734" y="1445267"/>
                      </a:lnTo>
                      <a:lnTo>
                        <a:pt x="1508557" y="1459894"/>
                      </a:lnTo>
                      <a:lnTo>
                        <a:pt x="1510799" y="1488505"/>
                      </a:lnTo>
                      <a:lnTo>
                        <a:pt x="1532098" y="1469378"/>
                      </a:lnTo>
                      <a:lnTo>
                        <a:pt x="1560123" y="1476289"/>
                      </a:lnTo>
                      <a:lnTo>
                        <a:pt x="1548593" y="1449768"/>
                      </a:lnTo>
                      <a:lnTo>
                        <a:pt x="1563646" y="1425336"/>
                      </a:lnTo>
                      <a:lnTo>
                        <a:pt x="1534980" y="1428229"/>
                      </a:lnTo>
                      <a:close/>
                      <a:moveTo>
                        <a:pt x="534575" y="1406208"/>
                      </a:moveTo>
                      <a:lnTo>
                        <a:pt x="515721" y="1428229"/>
                      </a:lnTo>
                      <a:lnTo>
                        <a:pt x="486627" y="1425336"/>
                      </a:lnTo>
                      <a:lnTo>
                        <a:pt x="502068" y="1449768"/>
                      </a:lnTo>
                      <a:lnTo>
                        <a:pt x="490203" y="1476289"/>
                      </a:lnTo>
                      <a:lnTo>
                        <a:pt x="518646" y="1469378"/>
                      </a:lnTo>
                      <a:lnTo>
                        <a:pt x="540263" y="1488505"/>
                      </a:lnTo>
                      <a:lnTo>
                        <a:pt x="542539" y="1459894"/>
                      </a:lnTo>
                      <a:lnTo>
                        <a:pt x="567731" y="1445267"/>
                      </a:lnTo>
                      <a:lnTo>
                        <a:pt x="540751" y="1434337"/>
                      </a:lnTo>
                      <a:close/>
                      <a:moveTo>
                        <a:pt x="1575022" y="1315562"/>
                      </a:moveTo>
                      <a:lnTo>
                        <a:pt x="1573729" y="1344390"/>
                      </a:lnTo>
                      <a:lnTo>
                        <a:pt x="1549333" y="1359851"/>
                      </a:lnTo>
                      <a:lnTo>
                        <a:pt x="1576476" y="1369836"/>
                      </a:lnTo>
                      <a:lnTo>
                        <a:pt x="1583584" y="1397859"/>
                      </a:lnTo>
                      <a:lnTo>
                        <a:pt x="1601518" y="1375151"/>
                      </a:lnTo>
                      <a:lnTo>
                        <a:pt x="1630437" y="1377084"/>
                      </a:lnTo>
                      <a:lnTo>
                        <a:pt x="1614443" y="1353087"/>
                      </a:lnTo>
                      <a:lnTo>
                        <a:pt x="1625106" y="1326192"/>
                      </a:lnTo>
                      <a:lnTo>
                        <a:pt x="1597156" y="1334083"/>
                      </a:lnTo>
                      <a:close/>
                      <a:moveTo>
                        <a:pt x="476443" y="1315562"/>
                      </a:moveTo>
                      <a:lnTo>
                        <a:pt x="454309" y="1334083"/>
                      </a:lnTo>
                      <a:lnTo>
                        <a:pt x="426359" y="1326192"/>
                      </a:lnTo>
                      <a:lnTo>
                        <a:pt x="437022" y="1353087"/>
                      </a:lnTo>
                      <a:lnTo>
                        <a:pt x="421027" y="1377084"/>
                      </a:lnTo>
                      <a:lnTo>
                        <a:pt x="449947" y="1375151"/>
                      </a:lnTo>
                      <a:lnTo>
                        <a:pt x="467880" y="1397859"/>
                      </a:lnTo>
                      <a:lnTo>
                        <a:pt x="474989" y="1369836"/>
                      </a:lnTo>
                      <a:lnTo>
                        <a:pt x="502131" y="1359851"/>
                      </a:lnTo>
                      <a:lnTo>
                        <a:pt x="477735" y="1344390"/>
                      </a:lnTo>
                      <a:close/>
                      <a:moveTo>
                        <a:pt x="1615811" y="1215374"/>
                      </a:moveTo>
                      <a:lnTo>
                        <a:pt x="1619717" y="1244168"/>
                      </a:lnTo>
                      <a:lnTo>
                        <a:pt x="1598234" y="1263580"/>
                      </a:lnTo>
                      <a:lnTo>
                        <a:pt x="1626878" y="1268757"/>
                      </a:lnTo>
                      <a:lnTo>
                        <a:pt x="1638921" y="1295286"/>
                      </a:lnTo>
                      <a:lnTo>
                        <a:pt x="1652755" y="1269727"/>
                      </a:lnTo>
                      <a:lnTo>
                        <a:pt x="1681724" y="1266492"/>
                      </a:lnTo>
                      <a:lnTo>
                        <a:pt x="1661543" y="1245624"/>
                      </a:lnTo>
                      <a:lnTo>
                        <a:pt x="1667402" y="1217154"/>
                      </a:lnTo>
                      <a:lnTo>
                        <a:pt x="1641200" y="1229771"/>
                      </a:lnTo>
                      <a:close/>
                      <a:moveTo>
                        <a:pt x="434713" y="1215374"/>
                      </a:moveTo>
                      <a:lnTo>
                        <a:pt x="409687" y="1229771"/>
                      </a:lnTo>
                      <a:lnTo>
                        <a:pt x="383858" y="1217154"/>
                      </a:lnTo>
                      <a:lnTo>
                        <a:pt x="389634" y="1245624"/>
                      </a:lnTo>
                      <a:lnTo>
                        <a:pt x="369741" y="1266492"/>
                      </a:lnTo>
                      <a:lnTo>
                        <a:pt x="398297" y="1269727"/>
                      </a:lnTo>
                      <a:lnTo>
                        <a:pt x="411932" y="1295286"/>
                      </a:lnTo>
                      <a:lnTo>
                        <a:pt x="423804" y="1268757"/>
                      </a:lnTo>
                      <a:lnTo>
                        <a:pt x="452038" y="1263580"/>
                      </a:lnTo>
                      <a:lnTo>
                        <a:pt x="430862" y="1244168"/>
                      </a:lnTo>
                      <a:close/>
                      <a:moveTo>
                        <a:pt x="1690261" y="1102066"/>
                      </a:moveTo>
                      <a:lnTo>
                        <a:pt x="1666655" y="1119015"/>
                      </a:lnTo>
                      <a:lnTo>
                        <a:pt x="1639493" y="1109237"/>
                      </a:lnTo>
                      <a:lnTo>
                        <a:pt x="1648223" y="1137104"/>
                      </a:lnTo>
                      <a:lnTo>
                        <a:pt x="1630438" y="1160082"/>
                      </a:lnTo>
                      <a:lnTo>
                        <a:pt x="1659541" y="1160245"/>
                      </a:lnTo>
                      <a:lnTo>
                        <a:pt x="1675871" y="1184363"/>
                      </a:lnTo>
                      <a:lnTo>
                        <a:pt x="1684926" y="1156659"/>
                      </a:lnTo>
                      <a:lnTo>
                        <a:pt x="1712735" y="1148511"/>
                      </a:lnTo>
                      <a:lnTo>
                        <a:pt x="1689453" y="1131237"/>
                      </a:lnTo>
                      <a:close/>
                      <a:moveTo>
                        <a:pt x="360012" y="1102066"/>
                      </a:moveTo>
                      <a:lnTo>
                        <a:pt x="360821" y="1131237"/>
                      </a:lnTo>
                      <a:lnTo>
                        <a:pt x="337538" y="1148511"/>
                      </a:lnTo>
                      <a:lnTo>
                        <a:pt x="365348" y="1156659"/>
                      </a:lnTo>
                      <a:lnTo>
                        <a:pt x="374402" y="1184363"/>
                      </a:lnTo>
                      <a:lnTo>
                        <a:pt x="390732" y="1160245"/>
                      </a:lnTo>
                      <a:lnTo>
                        <a:pt x="419835" y="1160082"/>
                      </a:lnTo>
                      <a:lnTo>
                        <a:pt x="402050" y="1137104"/>
                      </a:lnTo>
                      <a:lnTo>
                        <a:pt x="410781" y="1109237"/>
                      </a:lnTo>
                      <a:lnTo>
                        <a:pt x="383618" y="1119015"/>
                      </a:lnTo>
                      <a:close/>
                      <a:moveTo>
                        <a:pt x="1693366" y="985180"/>
                      </a:moveTo>
                      <a:lnTo>
                        <a:pt x="1673244" y="1006012"/>
                      </a:lnTo>
                      <a:lnTo>
                        <a:pt x="1644750" y="1001130"/>
                      </a:lnTo>
                      <a:lnTo>
                        <a:pt x="1658273" y="1027007"/>
                      </a:lnTo>
                      <a:lnTo>
                        <a:pt x="1644750" y="1052721"/>
                      </a:lnTo>
                      <a:lnTo>
                        <a:pt x="1673244" y="1047838"/>
                      </a:lnTo>
                      <a:lnTo>
                        <a:pt x="1693366" y="1068670"/>
                      </a:lnTo>
                      <a:lnTo>
                        <a:pt x="1697552" y="1039864"/>
                      </a:lnTo>
                      <a:lnTo>
                        <a:pt x="1723469" y="1027007"/>
                      </a:lnTo>
                      <a:lnTo>
                        <a:pt x="1697552" y="1013987"/>
                      </a:lnTo>
                      <a:close/>
                      <a:moveTo>
                        <a:pt x="357363" y="985180"/>
                      </a:moveTo>
                      <a:lnTo>
                        <a:pt x="353114" y="1013987"/>
                      </a:lnTo>
                      <a:lnTo>
                        <a:pt x="326803" y="1027007"/>
                      </a:lnTo>
                      <a:lnTo>
                        <a:pt x="353114" y="1039864"/>
                      </a:lnTo>
                      <a:lnTo>
                        <a:pt x="357363" y="1068670"/>
                      </a:lnTo>
                      <a:lnTo>
                        <a:pt x="377790" y="1047838"/>
                      </a:lnTo>
                      <a:lnTo>
                        <a:pt x="406715" y="1052721"/>
                      </a:lnTo>
                      <a:lnTo>
                        <a:pt x="392988" y="1027007"/>
                      </a:lnTo>
                      <a:lnTo>
                        <a:pt x="406715" y="1001130"/>
                      </a:lnTo>
                      <a:lnTo>
                        <a:pt x="377790" y="1006012"/>
                      </a:lnTo>
                      <a:close/>
                      <a:moveTo>
                        <a:pt x="1675871" y="869487"/>
                      </a:moveTo>
                      <a:lnTo>
                        <a:pt x="1659541" y="893558"/>
                      </a:lnTo>
                      <a:lnTo>
                        <a:pt x="1630438" y="893721"/>
                      </a:lnTo>
                      <a:lnTo>
                        <a:pt x="1648223" y="916816"/>
                      </a:lnTo>
                      <a:lnTo>
                        <a:pt x="1639493" y="944628"/>
                      </a:lnTo>
                      <a:lnTo>
                        <a:pt x="1666655" y="934707"/>
                      </a:lnTo>
                      <a:lnTo>
                        <a:pt x="1690261" y="951784"/>
                      </a:lnTo>
                      <a:lnTo>
                        <a:pt x="1689453" y="922509"/>
                      </a:lnTo>
                      <a:lnTo>
                        <a:pt x="1712735" y="905269"/>
                      </a:lnTo>
                      <a:lnTo>
                        <a:pt x="1684926" y="897136"/>
                      </a:lnTo>
                      <a:close/>
                      <a:moveTo>
                        <a:pt x="374402" y="869487"/>
                      </a:moveTo>
                      <a:lnTo>
                        <a:pt x="365348" y="897136"/>
                      </a:lnTo>
                      <a:lnTo>
                        <a:pt x="337538" y="905269"/>
                      </a:lnTo>
                      <a:lnTo>
                        <a:pt x="360821" y="922509"/>
                      </a:lnTo>
                      <a:lnTo>
                        <a:pt x="360012" y="951784"/>
                      </a:lnTo>
                      <a:lnTo>
                        <a:pt x="383618" y="934707"/>
                      </a:lnTo>
                      <a:lnTo>
                        <a:pt x="410781" y="944628"/>
                      </a:lnTo>
                      <a:lnTo>
                        <a:pt x="402050" y="916816"/>
                      </a:lnTo>
                      <a:lnTo>
                        <a:pt x="419835" y="893721"/>
                      </a:lnTo>
                      <a:lnTo>
                        <a:pt x="390732" y="893558"/>
                      </a:lnTo>
                      <a:close/>
                      <a:moveTo>
                        <a:pt x="1638921" y="759758"/>
                      </a:moveTo>
                      <a:lnTo>
                        <a:pt x="1626878" y="785892"/>
                      </a:lnTo>
                      <a:lnTo>
                        <a:pt x="1598234" y="790991"/>
                      </a:lnTo>
                      <a:lnTo>
                        <a:pt x="1619717" y="810272"/>
                      </a:lnTo>
                      <a:lnTo>
                        <a:pt x="1615811" y="838477"/>
                      </a:lnTo>
                      <a:lnTo>
                        <a:pt x="1641200" y="824295"/>
                      </a:lnTo>
                      <a:lnTo>
                        <a:pt x="1667402" y="836724"/>
                      </a:lnTo>
                      <a:lnTo>
                        <a:pt x="1661543" y="808838"/>
                      </a:lnTo>
                      <a:lnTo>
                        <a:pt x="1681724" y="788123"/>
                      </a:lnTo>
                      <a:lnTo>
                        <a:pt x="1652755" y="784936"/>
                      </a:lnTo>
                      <a:close/>
                      <a:moveTo>
                        <a:pt x="411932" y="759758"/>
                      </a:moveTo>
                      <a:lnTo>
                        <a:pt x="398297" y="784936"/>
                      </a:lnTo>
                      <a:lnTo>
                        <a:pt x="369741" y="788123"/>
                      </a:lnTo>
                      <a:lnTo>
                        <a:pt x="389634" y="808838"/>
                      </a:lnTo>
                      <a:lnTo>
                        <a:pt x="383858" y="836724"/>
                      </a:lnTo>
                      <a:lnTo>
                        <a:pt x="409687" y="824295"/>
                      </a:lnTo>
                      <a:lnTo>
                        <a:pt x="434713" y="838477"/>
                      </a:lnTo>
                      <a:lnTo>
                        <a:pt x="430862" y="810272"/>
                      </a:lnTo>
                      <a:lnTo>
                        <a:pt x="452038" y="790991"/>
                      </a:lnTo>
                      <a:lnTo>
                        <a:pt x="423804" y="785892"/>
                      </a:lnTo>
                      <a:close/>
                      <a:moveTo>
                        <a:pt x="1583584" y="655992"/>
                      </a:moveTo>
                      <a:lnTo>
                        <a:pt x="1576476" y="684421"/>
                      </a:lnTo>
                      <a:lnTo>
                        <a:pt x="1549333" y="694551"/>
                      </a:lnTo>
                      <a:lnTo>
                        <a:pt x="1573729" y="710236"/>
                      </a:lnTo>
                      <a:lnTo>
                        <a:pt x="1575022" y="739482"/>
                      </a:lnTo>
                      <a:lnTo>
                        <a:pt x="1597156" y="720856"/>
                      </a:lnTo>
                      <a:lnTo>
                        <a:pt x="1625106" y="728699"/>
                      </a:lnTo>
                      <a:lnTo>
                        <a:pt x="1614443" y="701577"/>
                      </a:lnTo>
                      <a:lnTo>
                        <a:pt x="1630437" y="677232"/>
                      </a:lnTo>
                      <a:lnTo>
                        <a:pt x="1601518" y="679029"/>
                      </a:lnTo>
                      <a:close/>
                      <a:moveTo>
                        <a:pt x="467880" y="655992"/>
                      </a:moveTo>
                      <a:lnTo>
                        <a:pt x="449947" y="679029"/>
                      </a:lnTo>
                      <a:lnTo>
                        <a:pt x="421027" y="677232"/>
                      </a:lnTo>
                      <a:lnTo>
                        <a:pt x="437022" y="701577"/>
                      </a:lnTo>
                      <a:lnTo>
                        <a:pt x="426359" y="728699"/>
                      </a:lnTo>
                      <a:lnTo>
                        <a:pt x="454309" y="720856"/>
                      </a:lnTo>
                      <a:lnTo>
                        <a:pt x="476443" y="739482"/>
                      </a:lnTo>
                      <a:lnTo>
                        <a:pt x="477735" y="710236"/>
                      </a:lnTo>
                      <a:lnTo>
                        <a:pt x="502131" y="694551"/>
                      </a:lnTo>
                      <a:lnTo>
                        <a:pt x="474989" y="684421"/>
                      </a:lnTo>
                      <a:close/>
                      <a:moveTo>
                        <a:pt x="1510799" y="565346"/>
                      </a:moveTo>
                      <a:lnTo>
                        <a:pt x="1508557" y="594118"/>
                      </a:lnTo>
                      <a:lnTo>
                        <a:pt x="1483734" y="608584"/>
                      </a:lnTo>
                      <a:lnTo>
                        <a:pt x="1510318" y="619514"/>
                      </a:lnTo>
                      <a:lnTo>
                        <a:pt x="1516404" y="647643"/>
                      </a:lnTo>
                      <a:lnTo>
                        <a:pt x="1534980" y="625783"/>
                      </a:lnTo>
                      <a:lnTo>
                        <a:pt x="1563646" y="628516"/>
                      </a:lnTo>
                      <a:lnTo>
                        <a:pt x="1548593" y="604084"/>
                      </a:lnTo>
                      <a:lnTo>
                        <a:pt x="1560123" y="577723"/>
                      </a:lnTo>
                      <a:lnTo>
                        <a:pt x="1532098" y="584474"/>
                      </a:lnTo>
                      <a:close/>
                      <a:moveTo>
                        <a:pt x="540263" y="565346"/>
                      </a:moveTo>
                      <a:lnTo>
                        <a:pt x="518646" y="584474"/>
                      </a:lnTo>
                      <a:lnTo>
                        <a:pt x="490203" y="577723"/>
                      </a:lnTo>
                      <a:lnTo>
                        <a:pt x="502068" y="604084"/>
                      </a:lnTo>
                      <a:lnTo>
                        <a:pt x="486627" y="628516"/>
                      </a:lnTo>
                      <a:lnTo>
                        <a:pt x="515721" y="625783"/>
                      </a:lnTo>
                      <a:lnTo>
                        <a:pt x="534575" y="647643"/>
                      </a:lnTo>
                      <a:lnTo>
                        <a:pt x="540751" y="619514"/>
                      </a:lnTo>
                      <a:lnTo>
                        <a:pt x="567731" y="608584"/>
                      </a:lnTo>
                      <a:lnTo>
                        <a:pt x="542539" y="594118"/>
                      </a:lnTo>
                      <a:close/>
                      <a:moveTo>
                        <a:pt x="1422950" y="487819"/>
                      </a:moveTo>
                      <a:lnTo>
                        <a:pt x="1425843" y="516913"/>
                      </a:lnTo>
                      <a:lnTo>
                        <a:pt x="1403822" y="535766"/>
                      </a:lnTo>
                      <a:lnTo>
                        <a:pt x="1431951" y="541943"/>
                      </a:lnTo>
                      <a:lnTo>
                        <a:pt x="1442881" y="568923"/>
                      </a:lnTo>
                      <a:lnTo>
                        <a:pt x="1457347" y="543731"/>
                      </a:lnTo>
                      <a:lnTo>
                        <a:pt x="1486119" y="541618"/>
                      </a:lnTo>
                      <a:lnTo>
                        <a:pt x="1466992" y="519838"/>
                      </a:lnTo>
                      <a:lnTo>
                        <a:pt x="1473743" y="491557"/>
                      </a:lnTo>
                      <a:lnTo>
                        <a:pt x="1447382" y="503260"/>
                      </a:lnTo>
                      <a:close/>
                      <a:moveTo>
                        <a:pt x="627323" y="487819"/>
                      </a:moveTo>
                      <a:lnTo>
                        <a:pt x="602891" y="503260"/>
                      </a:lnTo>
                      <a:lnTo>
                        <a:pt x="576530" y="491557"/>
                      </a:lnTo>
                      <a:lnTo>
                        <a:pt x="583281" y="519838"/>
                      </a:lnTo>
                      <a:lnTo>
                        <a:pt x="564153" y="541618"/>
                      </a:lnTo>
                      <a:lnTo>
                        <a:pt x="592925" y="543731"/>
                      </a:lnTo>
                      <a:lnTo>
                        <a:pt x="607391" y="568923"/>
                      </a:lnTo>
                      <a:lnTo>
                        <a:pt x="618321" y="541943"/>
                      </a:lnTo>
                      <a:lnTo>
                        <a:pt x="646450" y="535766"/>
                      </a:lnTo>
                      <a:lnTo>
                        <a:pt x="624429" y="516913"/>
                      </a:lnTo>
                      <a:close/>
                      <a:moveTo>
                        <a:pt x="1374698" y="421027"/>
                      </a:moveTo>
                      <a:lnTo>
                        <a:pt x="1350701" y="437421"/>
                      </a:lnTo>
                      <a:lnTo>
                        <a:pt x="1323806" y="426437"/>
                      </a:lnTo>
                      <a:lnTo>
                        <a:pt x="1331697" y="454798"/>
                      </a:lnTo>
                      <a:lnTo>
                        <a:pt x="1313176" y="477422"/>
                      </a:lnTo>
                      <a:lnTo>
                        <a:pt x="1342004" y="478569"/>
                      </a:lnTo>
                      <a:lnTo>
                        <a:pt x="1357465" y="503324"/>
                      </a:lnTo>
                      <a:lnTo>
                        <a:pt x="1367450" y="475783"/>
                      </a:lnTo>
                      <a:lnTo>
                        <a:pt x="1395473" y="468569"/>
                      </a:lnTo>
                      <a:lnTo>
                        <a:pt x="1372765" y="450372"/>
                      </a:lnTo>
                      <a:close/>
                      <a:moveTo>
                        <a:pt x="676768" y="421027"/>
                      </a:moveTo>
                      <a:lnTo>
                        <a:pt x="678700" y="450372"/>
                      </a:lnTo>
                      <a:lnTo>
                        <a:pt x="655992" y="468569"/>
                      </a:lnTo>
                      <a:lnTo>
                        <a:pt x="684015" y="475783"/>
                      </a:lnTo>
                      <a:lnTo>
                        <a:pt x="694000" y="503324"/>
                      </a:lnTo>
                      <a:lnTo>
                        <a:pt x="709461" y="478569"/>
                      </a:lnTo>
                      <a:lnTo>
                        <a:pt x="738289" y="477422"/>
                      </a:lnTo>
                      <a:lnTo>
                        <a:pt x="719768" y="454798"/>
                      </a:lnTo>
                      <a:lnTo>
                        <a:pt x="727660" y="426437"/>
                      </a:lnTo>
                      <a:lnTo>
                        <a:pt x="700764" y="437421"/>
                      </a:lnTo>
                      <a:close/>
                      <a:moveTo>
                        <a:pt x="1264106" y="369741"/>
                      </a:moveTo>
                      <a:lnTo>
                        <a:pt x="1243238" y="389883"/>
                      </a:lnTo>
                      <a:lnTo>
                        <a:pt x="1214768" y="384035"/>
                      </a:lnTo>
                      <a:lnTo>
                        <a:pt x="1227385" y="410187"/>
                      </a:lnTo>
                      <a:lnTo>
                        <a:pt x="1212988" y="435526"/>
                      </a:lnTo>
                      <a:lnTo>
                        <a:pt x="1241782" y="431628"/>
                      </a:lnTo>
                      <a:lnTo>
                        <a:pt x="1261194" y="453231"/>
                      </a:lnTo>
                      <a:lnTo>
                        <a:pt x="1266371" y="424481"/>
                      </a:lnTo>
                      <a:lnTo>
                        <a:pt x="1292900" y="412461"/>
                      </a:lnTo>
                      <a:lnTo>
                        <a:pt x="1267341" y="398654"/>
                      </a:lnTo>
                      <a:close/>
                      <a:moveTo>
                        <a:pt x="786930" y="369741"/>
                      </a:moveTo>
                      <a:lnTo>
                        <a:pt x="783743" y="398654"/>
                      </a:lnTo>
                      <a:lnTo>
                        <a:pt x="758565" y="412461"/>
                      </a:lnTo>
                      <a:lnTo>
                        <a:pt x="784699" y="424481"/>
                      </a:lnTo>
                      <a:lnTo>
                        <a:pt x="789798" y="453231"/>
                      </a:lnTo>
                      <a:lnTo>
                        <a:pt x="808920" y="431628"/>
                      </a:lnTo>
                      <a:lnTo>
                        <a:pt x="837284" y="435526"/>
                      </a:lnTo>
                      <a:lnTo>
                        <a:pt x="823102" y="410187"/>
                      </a:lnTo>
                      <a:lnTo>
                        <a:pt x="835531" y="384035"/>
                      </a:lnTo>
                      <a:lnTo>
                        <a:pt x="807486" y="389883"/>
                      </a:lnTo>
                      <a:close/>
                      <a:moveTo>
                        <a:pt x="1146715" y="338730"/>
                      </a:moveTo>
                      <a:lnTo>
                        <a:pt x="1129724" y="362174"/>
                      </a:lnTo>
                      <a:lnTo>
                        <a:pt x="1100873" y="361204"/>
                      </a:lnTo>
                      <a:lnTo>
                        <a:pt x="1117703" y="384810"/>
                      </a:lnTo>
                      <a:lnTo>
                        <a:pt x="1108086" y="412135"/>
                      </a:lnTo>
                      <a:lnTo>
                        <a:pt x="1135334" y="403242"/>
                      </a:lnTo>
                      <a:lnTo>
                        <a:pt x="1158095" y="421027"/>
                      </a:lnTo>
                      <a:lnTo>
                        <a:pt x="1158255" y="391924"/>
                      </a:lnTo>
                      <a:lnTo>
                        <a:pt x="1181977" y="375594"/>
                      </a:lnTo>
                      <a:lnTo>
                        <a:pt x="1154729" y="366540"/>
                      </a:lnTo>
                      <a:close/>
                      <a:moveTo>
                        <a:pt x="904076" y="338730"/>
                      </a:moveTo>
                      <a:lnTo>
                        <a:pt x="895943" y="366540"/>
                      </a:lnTo>
                      <a:lnTo>
                        <a:pt x="868294" y="375594"/>
                      </a:lnTo>
                      <a:lnTo>
                        <a:pt x="892365" y="391924"/>
                      </a:lnTo>
                      <a:lnTo>
                        <a:pt x="892528" y="421027"/>
                      </a:lnTo>
                      <a:lnTo>
                        <a:pt x="915623" y="403242"/>
                      </a:lnTo>
                      <a:lnTo>
                        <a:pt x="943272" y="412135"/>
                      </a:lnTo>
                      <a:lnTo>
                        <a:pt x="933514" y="384810"/>
                      </a:lnTo>
                      <a:lnTo>
                        <a:pt x="950591" y="361204"/>
                      </a:lnTo>
                      <a:lnTo>
                        <a:pt x="921316" y="362174"/>
                      </a:lnTo>
                      <a:close/>
                      <a:moveTo>
                        <a:pt x="1025815" y="327996"/>
                      </a:moveTo>
                      <a:lnTo>
                        <a:pt x="1012795" y="353914"/>
                      </a:lnTo>
                      <a:lnTo>
                        <a:pt x="983988" y="358099"/>
                      </a:lnTo>
                      <a:lnTo>
                        <a:pt x="1004820" y="378222"/>
                      </a:lnTo>
                      <a:lnTo>
                        <a:pt x="999938" y="406715"/>
                      </a:lnTo>
                      <a:lnTo>
                        <a:pt x="1025815" y="393193"/>
                      </a:lnTo>
                      <a:lnTo>
                        <a:pt x="1051529" y="406715"/>
                      </a:lnTo>
                      <a:lnTo>
                        <a:pt x="1046646" y="378222"/>
                      </a:lnTo>
                      <a:lnTo>
                        <a:pt x="1067478" y="358099"/>
                      </a:lnTo>
                      <a:lnTo>
                        <a:pt x="1038672" y="353914"/>
                      </a:lnTo>
                      <a:close/>
                      <a:moveTo>
                        <a:pt x="1021692" y="287509"/>
                      </a:moveTo>
                      <a:cubicBezTo>
                        <a:pt x="1423168" y="287509"/>
                        <a:pt x="1748629" y="612970"/>
                        <a:pt x="1748629" y="1014446"/>
                      </a:cubicBezTo>
                      <a:cubicBezTo>
                        <a:pt x="1748629" y="1415922"/>
                        <a:pt x="1423168" y="1741383"/>
                        <a:pt x="1021692" y="1741383"/>
                      </a:cubicBezTo>
                      <a:cubicBezTo>
                        <a:pt x="620216" y="1741383"/>
                        <a:pt x="294755" y="1415922"/>
                        <a:pt x="294755" y="1014446"/>
                      </a:cubicBezTo>
                      <a:cubicBezTo>
                        <a:pt x="294755" y="612970"/>
                        <a:pt x="620216" y="287509"/>
                        <a:pt x="1021692" y="287509"/>
                      </a:cubicBezTo>
                      <a:close/>
                      <a:moveTo>
                        <a:pt x="1021692" y="204488"/>
                      </a:moveTo>
                      <a:cubicBezTo>
                        <a:pt x="574365" y="204488"/>
                        <a:pt x="211734" y="567119"/>
                        <a:pt x="211734" y="1014446"/>
                      </a:cubicBezTo>
                      <a:cubicBezTo>
                        <a:pt x="211734" y="1461773"/>
                        <a:pt x="574365" y="1824404"/>
                        <a:pt x="1021692" y="1824404"/>
                      </a:cubicBezTo>
                      <a:cubicBezTo>
                        <a:pt x="1469019" y="1824404"/>
                        <a:pt x="1831650" y="1461773"/>
                        <a:pt x="1831650" y="1014446"/>
                      </a:cubicBezTo>
                      <a:cubicBezTo>
                        <a:pt x="1831650" y="567119"/>
                        <a:pt x="1469019" y="204488"/>
                        <a:pt x="1021692" y="204488"/>
                      </a:cubicBezTo>
                      <a:close/>
                      <a:moveTo>
                        <a:pt x="1025813" y="0"/>
                      </a:moveTo>
                      <a:cubicBezTo>
                        <a:pt x="1111997" y="0"/>
                        <a:pt x="1184463" y="105835"/>
                        <a:pt x="1266289" y="127810"/>
                      </a:cubicBezTo>
                      <a:cubicBezTo>
                        <a:pt x="1348922" y="149947"/>
                        <a:pt x="1464641" y="94848"/>
                        <a:pt x="1538559" y="137667"/>
                      </a:cubicBezTo>
                      <a:cubicBezTo>
                        <a:pt x="1611992" y="180001"/>
                        <a:pt x="1622160" y="307811"/>
                        <a:pt x="1683167" y="368727"/>
                      </a:cubicBezTo>
                      <a:cubicBezTo>
                        <a:pt x="1744012" y="429804"/>
                        <a:pt x="1871674" y="439984"/>
                        <a:pt x="1913958" y="513503"/>
                      </a:cubicBezTo>
                      <a:cubicBezTo>
                        <a:pt x="1956728" y="587507"/>
                        <a:pt x="1901693" y="703360"/>
                        <a:pt x="1923803" y="786089"/>
                      </a:cubicBezTo>
                      <a:cubicBezTo>
                        <a:pt x="1945753" y="868011"/>
                        <a:pt x="2051465" y="940722"/>
                        <a:pt x="2051465" y="1027006"/>
                      </a:cubicBezTo>
                      <a:cubicBezTo>
                        <a:pt x="2051465" y="1113290"/>
                        <a:pt x="1945753" y="1186001"/>
                        <a:pt x="1923803" y="1267923"/>
                      </a:cubicBezTo>
                      <a:cubicBezTo>
                        <a:pt x="1901693" y="1350490"/>
                        <a:pt x="1956728" y="1466343"/>
                        <a:pt x="1913958" y="1540347"/>
                      </a:cubicBezTo>
                      <a:cubicBezTo>
                        <a:pt x="1871674" y="1613866"/>
                        <a:pt x="1744012" y="1624046"/>
                        <a:pt x="1683167" y="1685123"/>
                      </a:cubicBezTo>
                      <a:cubicBezTo>
                        <a:pt x="1622160" y="1746201"/>
                        <a:pt x="1611992" y="1873849"/>
                        <a:pt x="1538559" y="1916345"/>
                      </a:cubicBezTo>
                      <a:cubicBezTo>
                        <a:pt x="1464641" y="1959002"/>
                        <a:pt x="1348922" y="1903903"/>
                        <a:pt x="1266289" y="1926040"/>
                      </a:cubicBezTo>
                      <a:cubicBezTo>
                        <a:pt x="1184463" y="1948015"/>
                        <a:pt x="1111997" y="2053850"/>
                        <a:pt x="1025813" y="2053850"/>
                      </a:cubicBezTo>
                      <a:cubicBezTo>
                        <a:pt x="939468" y="2053850"/>
                        <a:pt x="867003" y="1948015"/>
                        <a:pt x="785177" y="1926040"/>
                      </a:cubicBezTo>
                      <a:cubicBezTo>
                        <a:pt x="702543" y="1903903"/>
                        <a:pt x="586825" y="1959002"/>
                        <a:pt x="512907" y="1916345"/>
                      </a:cubicBezTo>
                      <a:cubicBezTo>
                        <a:pt x="439473" y="1873849"/>
                        <a:pt x="429305" y="1746201"/>
                        <a:pt x="368299" y="1685123"/>
                      </a:cubicBezTo>
                      <a:cubicBezTo>
                        <a:pt x="307454" y="1624046"/>
                        <a:pt x="179792" y="1613866"/>
                        <a:pt x="137507" y="1540347"/>
                      </a:cubicBezTo>
                      <a:cubicBezTo>
                        <a:pt x="94738" y="1466343"/>
                        <a:pt x="149773" y="1350490"/>
                        <a:pt x="127662" y="1267923"/>
                      </a:cubicBezTo>
                      <a:cubicBezTo>
                        <a:pt x="105713" y="1186001"/>
                        <a:pt x="0" y="1113290"/>
                        <a:pt x="0" y="1027006"/>
                      </a:cubicBezTo>
                      <a:cubicBezTo>
                        <a:pt x="0" y="940722"/>
                        <a:pt x="105713" y="868011"/>
                        <a:pt x="127662" y="786089"/>
                      </a:cubicBezTo>
                      <a:cubicBezTo>
                        <a:pt x="149773" y="703360"/>
                        <a:pt x="94738" y="587507"/>
                        <a:pt x="137507" y="513503"/>
                      </a:cubicBezTo>
                      <a:cubicBezTo>
                        <a:pt x="179792" y="439984"/>
                        <a:pt x="307454" y="429804"/>
                        <a:pt x="368299" y="368727"/>
                      </a:cubicBezTo>
                      <a:cubicBezTo>
                        <a:pt x="429305" y="307811"/>
                        <a:pt x="439473" y="180001"/>
                        <a:pt x="512907" y="137667"/>
                      </a:cubicBezTo>
                      <a:cubicBezTo>
                        <a:pt x="586825" y="94848"/>
                        <a:pt x="702543" y="149947"/>
                        <a:pt x="785177" y="127810"/>
                      </a:cubicBezTo>
                      <a:cubicBezTo>
                        <a:pt x="867003" y="105835"/>
                        <a:pt x="939468" y="0"/>
                        <a:pt x="1025813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352"/>
                <p:cNvSpPr>
                  <a:spLocks/>
                </p:cNvSpPr>
                <p:nvPr/>
              </p:nvSpPr>
              <p:spPr bwMode="auto">
                <a:xfrm>
                  <a:off x="7016283" y="5434671"/>
                  <a:ext cx="865909" cy="1238035"/>
                </a:xfrm>
                <a:custGeom>
                  <a:avLst/>
                  <a:gdLst>
                    <a:gd name="T0" fmla="*/ 3234 w 5365"/>
                    <a:gd name="T1" fmla="*/ 384 h 7662"/>
                    <a:gd name="T2" fmla="*/ 1547 w 5365"/>
                    <a:gd name="T3" fmla="*/ 444 h 7662"/>
                    <a:gd name="T4" fmla="*/ 57 w 5365"/>
                    <a:gd name="T5" fmla="*/ 1235 h 7662"/>
                    <a:gd name="T6" fmla="*/ 0 w 5365"/>
                    <a:gd name="T7" fmla="*/ 1233 h 7662"/>
                    <a:gd name="T8" fmla="*/ 1722 w 5365"/>
                    <a:gd name="T9" fmla="*/ 7662 h 7662"/>
                    <a:gd name="T10" fmla="*/ 3185 w 5365"/>
                    <a:gd name="T11" fmla="*/ 5834 h 7662"/>
                    <a:gd name="T12" fmla="*/ 5365 w 5365"/>
                    <a:gd name="T13" fmla="*/ 6686 h 7662"/>
                    <a:gd name="T14" fmla="*/ 3574 w 5365"/>
                    <a:gd name="T15" fmla="*/ 0 h 7662"/>
                    <a:gd name="T16" fmla="*/ 3234 w 5365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5" h="7662">
                      <a:moveTo>
                        <a:pt x="3234" y="384"/>
                      </a:moveTo>
                      <a:cubicBezTo>
                        <a:pt x="2776" y="649"/>
                        <a:pt x="2059" y="307"/>
                        <a:pt x="1547" y="444"/>
                      </a:cubicBezTo>
                      <a:cubicBezTo>
                        <a:pt x="1040" y="580"/>
                        <a:pt x="591" y="1235"/>
                        <a:pt x="57" y="1235"/>
                      </a:cubicBezTo>
                      <a:cubicBezTo>
                        <a:pt x="37" y="1235"/>
                        <a:pt x="18" y="1235"/>
                        <a:pt x="0" y="1233"/>
                      </a:cubicBezTo>
                      <a:lnTo>
                        <a:pt x="1722" y="7662"/>
                      </a:lnTo>
                      <a:lnTo>
                        <a:pt x="3185" y="5834"/>
                      </a:lnTo>
                      <a:lnTo>
                        <a:pt x="5365" y="6686"/>
                      </a:lnTo>
                      <a:lnTo>
                        <a:pt x="3574" y="0"/>
                      </a:lnTo>
                      <a:cubicBezTo>
                        <a:pt x="3485" y="162"/>
                        <a:pt x="3380" y="300"/>
                        <a:pt x="3234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353"/>
                <p:cNvSpPr>
                  <a:spLocks/>
                </p:cNvSpPr>
                <p:nvPr/>
              </p:nvSpPr>
              <p:spPr bwMode="auto">
                <a:xfrm>
                  <a:off x="6076425" y="5434671"/>
                  <a:ext cx="865909" cy="1238035"/>
                </a:xfrm>
                <a:custGeom>
                  <a:avLst/>
                  <a:gdLst>
                    <a:gd name="T0" fmla="*/ 2131 w 5366"/>
                    <a:gd name="T1" fmla="*/ 384 h 7662"/>
                    <a:gd name="T2" fmla="*/ 3818 w 5366"/>
                    <a:gd name="T3" fmla="*/ 444 h 7662"/>
                    <a:gd name="T4" fmla="*/ 5308 w 5366"/>
                    <a:gd name="T5" fmla="*/ 1235 h 7662"/>
                    <a:gd name="T6" fmla="*/ 5366 w 5366"/>
                    <a:gd name="T7" fmla="*/ 1233 h 7662"/>
                    <a:gd name="T8" fmla="*/ 3643 w 5366"/>
                    <a:gd name="T9" fmla="*/ 7662 h 7662"/>
                    <a:gd name="T10" fmla="*/ 2180 w 5366"/>
                    <a:gd name="T11" fmla="*/ 5834 h 7662"/>
                    <a:gd name="T12" fmla="*/ 0 w 5366"/>
                    <a:gd name="T13" fmla="*/ 6686 h 7662"/>
                    <a:gd name="T14" fmla="*/ 1791 w 5366"/>
                    <a:gd name="T15" fmla="*/ 0 h 7662"/>
                    <a:gd name="T16" fmla="*/ 2131 w 5366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6" h="7662">
                      <a:moveTo>
                        <a:pt x="2131" y="384"/>
                      </a:moveTo>
                      <a:cubicBezTo>
                        <a:pt x="2589" y="649"/>
                        <a:pt x="3306" y="307"/>
                        <a:pt x="3818" y="444"/>
                      </a:cubicBezTo>
                      <a:cubicBezTo>
                        <a:pt x="4325" y="580"/>
                        <a:pt x="4774" y="1235"/>
                        <a:pt x="5308" y="1235"/>
                      </a:cubicBezTo>
                      <a:cubicBezTo>
                        <a:pt x="5328" y="1235"/>
                        <a:pt x="5347" y="1235"/>
                        <a:pt x="5366" y="1233"/>
                      </a:cubicBezTo>
                      <a:lnTo>
                        <a:pt x="3643" y="7662"/>
                      </a:lnTo>
                      <a:lnTo>
                        <a:pt x="2180" y="5834"/>
                      </a:lnTo>
                      <a:lnTo>
                        <a:pt x="0" y="6686"/>
                      </a:lnTo>
                      <a:lnTo>
                        <a:pt x="1791" y="0"/>
                      </a:lnTo>
                      <a:cubicBezTo>
                        <a:pt x="1880" y="162"/>
                        <a:pt x="1985" y="300"/>
                        <a:pt x="2131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226" name="TextBox 225"/>
            <p:cNvSpPr txBox="1"/>
            <p:nvPr/>
          </p:nvSpPr>
          <p:spPr>
            <a:xfrm>
              <a:off x="10930603" y="2261582"/>
              <a:ext cx="49885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$100</a:t>
              </a:r>
              <a:endParaRPr lang="en-US" sz="1200" dirty="0"/>
            </a:p>
          </p:txBody>
        </p:sp>
      </p:grpSp>
      <p:grpSp>
        <p:nvGrpSpPr>
          <p:cNvPr id="239" name="Group 238"/>
          <p:cNvGrpSpPr/>
          <p:nvPr/>
        </p:nvGrpSpPr>
        <p:grpSpPr>
          <a:xfrm>
            <a:off x="11052490" y="1555469"/>
            <a:ext cx="863547" cy="740074"/>
            <a:chOff x="10565911" y="2219026"/>
            <a:chExt cx="863547" cy="740074"/>
          </a:xfrm>
        </p:grpSpPr>
        <p:grpSp>
          <p:nvGrpSpPr>
            <p:cNvPr id="240" name="Group 239"/>
            <p:cNvGrpSpPr/>
            <p:nvPr/>
          </p:nvGrpSpPr>
          <p:grpSpPr>
            <a:xfrm>
              <a:off x="10565911" y="2219026"/>
              <a:ext cx="476656" cy="740074"/>
              <a:chOff x="7913883" y="3501752"/>
              <a:chExt cx="476656" cy="740074"/>
            </a:xfrm>
          </p:grpSpPr>
          <p:grpSp>
            <p:nvGrpSpPr>
              <p:cNvPr id="242" name="Document2"/>
              <p:cNvGrpSpPr>
                <a:grpSpLocks noChangeAspect="1"/>
              </p:cNvGrpSpPr>
              <p:nvPr>
                <p:custDataLst>
                  <p:tags r:id="rId61"/>
                </p:custDataLst>
              </p:nvPr>
            </p:nvGrpSpPr>
            <p:grpSpPr bwMode="auto">
              <a:xfrm>
                <a:off x="7913883" y="3501752"/>
                <a:ext cx="414049" cy="542925"/>
                <a:chOff x="176" y="141"/>
                <a:chExt cx="151" cy="198"/>
              </a:xfrm>
              <a:solidFill>
                <a:schemeClr val="accent1"/>
              </a:solidFill>
            </p:grpSpPr>
            <p:sp>
              <p:nvSpPr>
                <p:cNvPr id="247" name="Document2"/>
                <p:cNvSpPr>
                  <a:spLocks noEditPoints="1"/>
                </p:cNvSpPr>
                <p:nvPr>
                  <p:custDataLst>
                    <p:tags r:id="rId63"/>
                  </p:custDataLst>
                </p:nvPr>
              </p:nvSpPr>
              <p:spPr bwMode="auto">
                <a:xfrm>
                  <a:off x="176" y="141"/>
                  <a:ext cx="151" cy="198"/>
                </a:xfrm>
                <a:custGeom>
                  <a:avLst/>
                  <a:gdLst>
                    <a:gd name="T0" fmla="*/ 388 w 401"/>
                    <a:gd name="T1" fmla="*/ 525 h 525"/>
                    <a:gd name="T2" fmla="*/ 13 w 401"/>
                    <a:gd name="T3" fmla="*/ 525 h 525"/>
                    <a:gd name="T4" fmla="*/ 0 w 401"/>
                    <a:gd name="T5" fmla="*/ 512 h 525"/>
                    <a:gd name="T6" fmla="*/ 0 w 401"/>
                    <a:gd name="T7" fmla="*/ 12 h 525"/>
                    <a:gd name="T8" fmla="*/ 13 w 401"/>
                    <a:gd name="T9" fmla="*/ 0 h 525"/>
                    <a:gd name="T10" fmla="*/ 388 w 401"/>
                    <a:gd name="T11" fmla="*/ 0 h 525"/>
                    <a:gd name="T12" fmla="*/ 401 w 401"/>
                    <a:gd name="T13" fmla="*/ 12 h 525"/>
                    <a:gd name="T14" fmla="*/ 401 w 401"/>
                    <a:gd name="T15" fmla="*/ 512 h 525"/>
                    <a:gd name="T16" fmla="*/ 388 w 401"/>
                    <a:gd name="T17" fmla="*/ 525 h 525"/>
                    <a:gd name="T18" fmla="*/ 25 w 401"/>
                    <a:gd name="T19" fmla="*/ 500 h 525"/>
                    <a:gd name="T20" fmla="*/ 376 w 401"/>
                    <a:gd name="T21" fmla="*/ 500 h 525"/>
                    <a:gd name="T22" fmla="*/ 376 w 401"/>
                    <a:gd name="T23" fmla="*/ 25 h 525"/>
                    <a:gd name="T24" fmla="*/ 25 w 401"/>
                    <a:gd name="T25" fmla="*/ 25 h 525"/>
                    <a:gd name="T26" fmla="*/ 25 w 401"/>
                    <a:gd name="T27" fmla="*/ 500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1" h="525">
                      <a:moveTo>
                        <a:pt x="388" y="525"/>
                      </a:moveTo>
                      <a:lnTo>
                        <a:pt x="13" y="525"/>
                      </a:lnTo>
                      <a:cubicBezTo>
                        <a:pt x="5" y="525"/>
                        <a:pt x="0" y="520"/>
                        <a:pt x="0" y="512"/>
                      </a:cubicBezTo>
                      <a:lnTo>
                        <a:pt x="0" y="12"/>
                      </a:lnTo>
                      <a:cubicBezTo>
                        <a:pt x="0" y="5"/>
                        <a:pt x="5" y="0"/>
                        <a:pt x="13" y="0"/>
                      </a:cubicBezTo>
                      <a:lnTo>
                        <a:pt x="388" y="0"/>
                      </a:lnTo>
                      <a:cubicBezTo>
                        <a:pt x="395" y="0"/>
                        <a:pt x="401" y="5"/>
                        <a:pt x="401" y="12"/>
                      </a:cubicBezTo>
                      <a:lnTo>
                        <a:pt x="401" y="512"/>
                      </a:lnTo>
                      <a:cubicBezTo>
                        <a:pt x="401" y="520"/>
                        <a:pt x="394" y="525"/>
                        <a:pt x="388" y="525"/>
                      </a:cubicBezTo>
                      <a:close/>
                      <a:moveTo>
                        <a:pt x="25" y="500"/>
                      </a:moveTo>
                      <a:lnTo>
                        <a:pt x="376" y="500"/>
                      </a:lnTo>
                      <a:lnTo>
                        <a:pt x="376" y="25"/>
                      </a:lnTo>
                      <a:lnTo>
                        <a:pt x="25" y="25"/>
                      </a:lnTo>
                      <a:lnTo>
                        <a:pt x="25" y="50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Document2"/>
                <p:cNvSpPr>
                  <a:spLocks noChangeArrowheads="1"/>
                </p:cNvSpPr>
                <p:nvPr>
                  <p:custDataLst>
                    <p:tags r:id="rId64"/>
                  </p:custDataLst>
                </p:nvPr>
              </p:nvSpPr>
              <p:spPr bwMode="auto">
                <a:xfrm>
                  <a:off x="205" y="239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Document2"/>
                <p:cNvSpPr>
                  <a:spLocks noChangeArrowheads="1"/>
                </p:cNvSpPr>
                <p:nvPr>
                  <p:custDataLst>
                    <p:tags r:id="rId65"/>
                  </p:custDataLst>
                </p:nvPr>
              </p:nvSpPr>
              <p:spPr bwMode="auto">
                <a:xfrm>
                  <a:off x="205" y="267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Document2"/>
                <p:cNvSpPr>
                  <a:spLocks noChangeArrowheads="1"/>
                </p:cNvSpPr>
                <p:nvPr>
                  <p:custDataLst>
                    <p:tags r:id="rId66"/>
                  </p:custDataLst>
                </p:nvPr>
              </p:nvSpPr>
              <p:spPr bwMode="auto">
                <a:xfrm>
                  <a:off x="205" y="295"/>
                  <a:ext cx="94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Document2"/>
                <p:cNvSpPr>
                  <a:spLocks noChangeArrowheads="1"/>
                </p:cNvSpPr>
                <p:nvPr>
                  <p:custDataLst>
                    <p:tags r:id="rId67"/>
                  </p:custDataLst>
                </p:nvPr>
              </p:nvSpPr>
              <p:spPr bwMode="auto">
                <a:xfrm>
                  <a:off x="252" y="182"/>
                  <a:ext cx="47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Document2"/>
                <p:cNvSpPr>
                  <a:spLocks noChangeArrowheads="1"/>
                </p:cNvSpPr>
                <p:nvPr>
                  <p:custDataLst>
                    <p:tags r:id="rId68"/>
                  </p:custDataLst>
                </p:nvPr>
              </p:nvSpPr>
              <p:spPr bwMode="auto">
                <a:xfrm>
                  <a:off x="252" y="211"/>
                  <a:ext cx="47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Document2"/>
                <p:cNvSpPr>
                  <a:spLocks/>
                </p:cNvSpPr>
                <p:nvPr>
                  <p:custDataLst>
                    <p:tags r:id="rId69"/>
                  </p:custDataLst>
                </p:nvPr>
              </p:nvSpPr>
              <p:spPr bwMode="auto">
                <a:xfrm>
                  <a:off x="206" y="182"/>
                  <a:ext cx="36" cy="37"/>
                </a:xfrm>
                <a:custGeom>
                  <a:avLst/>
                  <a:gdLst>
                    <a:gd name="T0" fmla="*/ 49 w 98"/>
                    <a:gd name="T1" fmla="*/ 97 h 97"/>
                    <a:gd name="T2" fmla="*/ 49 w 98"/>
                    <a:gd name="T3" fmla="*/ 97 h 97"/>
                    <a:gd name="T4" fmla="*/ 0 w 98"/>
                    <a:gd name="T5" fmla="*/ 48 h 97"/>
                    <a:gd name="T6" fmla="*/ 0 w 98"/>
                    <a:gd name="T7" fmla="*/ 48 h 97"/>
                    <a:gd name="T8" fmla="*/ 49 w 98"/>
                    <a:gd name="T9" fmla="*/ 0 h 97"/>
                    <a:gd name="T10" fmla="*/ 49 w 98"/>
                    <a:gd name="T11" fmla="*/ 0 h 97"/>
                    <a:gd name="T12" fmla="*/ 98 w 98"/>
                    <a:gd name="T13" fmla="*/ 48 h 97"/>
                    <a:gd name="T14" fmla="*/ 98 w 98"/>
                    <a:gd name="T15" fmla="*/ 48 h 97"/>
                    <a:gd name="T16" fmla="*/ 49 w 98"/>
                    <a:gd name="T17" fmla="*/ 97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8" h="97">
                      <a:moveTo>
                        <a:pt x="49" y="97"/>
                      </a:moveTo>
                      <a:lnTo>
                        <a:pt x="49" y="97"/>
                      </a:lnTo>
                      <a:cubicBezTo>
                        <a:pt x="22" y="97"/>
                        <a:pt x="0" y="75"/>
                        <a:pt x="0" y="48"/>
                      </a:cubicBezTo>
                      <a:lnTo>
                        <a:pt x="0" y="48"/>
                      </a:lnTo>
                      <a:cubicBezTo>
                        <a:pt x="0" y="21"/>
                        <a:pt x="23" y="0"/>
                        <a:pt x="49" y="0"/>
                      </a:cubicBezTo>
                      <a:lnTo>
                        <a:pt x="49" y="0"/>
                      </a:lnTo>
                      <a:cubicBezTo>
                        <a:pt x="77" y="0"/>
                        <a:pt x="98" y="22"/>
                        <a:pt x="98" y="48"/>
                      </a:cubicBezTo>
                      <a:lnTo>
                        <a:pt x="98" y="48"/>
                      </a:lnTo>
                      <a:cubicBezTo>
                        <a:pt x="98" y="76"/>
                        <a:pt x="77" y="97"/>
                        <a:pt x="49" y="97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243" name="Award"/>
              <p:cNvGrpSpPr>
                <a:grpSpLocks noChangeAspect="1"/>
              </p:cNvGrpSpPr>
              <p:nvPr>
                <p:custDataLst>
                  <p:tags r:id="rId62"/>
                </p:custDataLst>
              </p:nvPr>
            </p:nvGrpSpPr>
            <p:grpSpPr>
              <a:xfrm>
                <a:off x="8124621" y="3822850"/>
                <a:ext cx="265918" cy="418976"/>
                <a:chOff x="5941649" y="3440456"/>
                <a:chExt cx="2051465" cy="3232250"/>
              </a:xfrm>
              <a:solidFill>
                <a:schemeClr val="accent1"/>
              </a:solidFill>
            </p:grpSpPr>
            <p:sp>
              <p:nvSpPr>
                <p:cNvPr id="244" name="Freeform: Shape 683"/>
                <p:cNvSpPr>
                  <a:spLocks/>
                </p:cNvSpPr>
                <p:nvPr/>
              </p:nvSpPr>
              <p:spPr bwMode="auto">
                <a:xfrm>
                  <a:off x="5941649" y="3440456"/>
                  <a:ext cx="2051465" cy="2053850"/>
                </a:xfrm>
                <a:custGeom>
                  <a:avLst/>
                  <a:gdLst>
                    <a:gd name="connsiteX0" fmla="*/ 999938 w 2051465"/>
                    <a:gd name="connsiteY0" fmla="*/ 1647136 h 2053850"/>
                    <a:gd name="connsiteX1" fmla="*/ 1004820 w 2051465"/>
                    <a:gd name="connsiteY1" fmla="*/ 1675527 h 2053850"/>
                    <a:gd name="connsiteX2" fmla="*/ 983988 w 2051465"/>
                    <a:gd name="connsiteY2" fmla="*/ 1695690 h 2053850"/>
                    <a:gd name="connsiteX3" fmla="*/ 1012795 w 2051465"/>
                    <a:gd name="connsiteY3" fmla="*/ 1699884 h 2053850"/>
                    <a:gd name="connsiteX4" fmla="*/ 1025815 w 2051465"/>
                    <a:gd name="connsiteY4" fmla="*/ 1725855 h 2053850"/>
                    <a:gd name="connsiteX5" fmla="*/ 1038672 w 2051465"/>
                    <a:gd name="connsiteY5" fmla="*/ 1699884 h 2053850"/>
                    <a:gd name="connsiteX6" fmla="*/ 1067478 w 2051465"/>
                    <a:gd name="connsiteY6" fmla="*/ 1695690 h 2053850"/>
                    <a:gd name="connsiteX7" fmla="*/ 1046646 w 2051465"/>
                    <a:gd name="connsiteY7" fmla="*/ 1675527 h 2053850"/>
                    <a:gd name="connsiteX8" fmla="*/ 1051529 w 2051465"/>
                    <a:gd name="connsiteY8" fmla="*/ 1647136 h 2053850"/>
                    <a:gd name="connsiteX9" fmla="*/ 1025815 w 2051465"/>
                    <a:gd name="connsiteY9" fmla="*/ 1660525 h 2053850"/>
                    <a:gd name="connsiteX10" fmla="*/ 1158095 w 2051465"/>
                    <a:gd name="connsiteY10" fmla="*/ 1634016 h 2053850"/>
                    <a:gd name="connsiteX11" fmla="*/ 1135334 w 2051465"/>
                    <a:gd name="connsiteY11" fmla="*/ 1651418 h 2053850"/>
                    <a:gd name="connsiteX12" fmla="*/ 1108086 w 2051465"/>
                    <a:gd name="connsiteY12" fmla="*/ 1642797 h 2053850"/>
                    <a:gd name="connsiteX13" fmla="*/ 1117703 w 2051465"/>
                    <a:gd name="connsiteY13" fmla="*/ 1669779 h 2053850"/>
                    <a:gd name="connsiteX14" fmla="*/ 1100873 w 2051465"/>
                    <a:gd name="connsiteY14" fmla="*/ 1692928 h 2053850"/>
                    <a:gd name="connsiteX15" fmla="*/ 1129724 w 2051465"/>
                    <a:gd name="connsiteY15" fmla="*/ 1692130 h 2053850"/>
                    <a:gd name="connsiteX16" fmla="*/ 1146715 w 2051465"/>
                    <a:gd name="connsiteY16" fmla="*/ 1715120 h 2053850"/>
                    <a:gd name="connsiteX17" fmla="*/ 1154729 w 2051465"/>
                    <a:gd name="connsiteY17" fmla="*/ 1687660 h 2053850"/>
                    <a:gd name="connsiteX18" fmla="*/ 1181977 w 2051465"/>
                    <a:gd name="connsiteY18" fmla="*/ 1678719 h 2053850"/>
                    <a:gd name="connsiteX19" fmla="*/ 1158255 w 2051465"/>
                    <a:gd name="connsiteY19" fmla="*/ 1662594 h 2053850"/>
                    <a:gd name="connsiteX20" fmla="*/ 892528 w 2051465"/>
                    <a:gd name="connsiteY20" fmla="*/ 1634016 h 2053850"/>
                    <a:gd name="connsiteX21" fmla="*/ 892365 w 2051465"/>
                    <a:gd name="connsiteY21" fmla="*/ 1662594 h 2053850"/>
                    <a:gd name="connsiteX22" fmla="*/ 868294 w 2051465"/>
                    <a:gd name="connsiteY22" fmla="*/ 1678719 h 2053850"/>
                    <a:gd name="connsiteX23" fmla="*/ 895943 w 2051465"/>
                    <a:gd name="connsiteY23" fmla="*/ 1687660 h 2053850"/>
                    <a:gd name="connsiteX24" fmla="*/ 904076 w 2051465"/>
                    <a:gd name="connsiteY24" fmla="*/ 1715120 h 2053850"/>
                    <a:gd name="connsiteX25" fmla="*/ 921316 w 2051465"/>
                    <a:gd name="connsiteY25" fmla="*/ 1692130 h 2053850"/>
                    <a:gd name="connsiteX26" fmla="*/ 950591 w 2051465"/>
                    <a:gd name="connsiteY26" fmla="*/ 1692928 h 2053850"/>
                    <a:gd name="connsiteX27" fmla="*/ 933514 w 2051465"/>
                    <a:gd name="connsiteY27" fmla="*/ 1669779 h 2053850"/>
                    <a:gd name="connsiteX28" fmla="*/ 943272 w 2051465"/>
                    <a:gd name="connsiteY28" fmla="*/ 1642797 h 2053850"/>
                    <a:gd name="connsiteX29" fmla="*/ 915623 w 2051465"/>
                    <a:gd name="connsiteY29" fmla="*/ 1651418 h 2053850"/>
                    <a:gd name="connsiteX30" fmla="*/ 1261194 w 2051465"/>
                    <a:gd name="connsiteY30" fmla="*/ 1600620 h 2053850"/>
                    <a:gd name="connsiteX31" fmla="*/ 1241782 w 2051465"/>
                    <a:gd name="connsiteY31" fmla="*/ 1622103 h 2053850"/>
                    <a:gd name="connsiteX32" fmla="*/ 1212988 w 2051465"/>
                    <a:gd name="connsiteY32" fmla="*/ 1618197 h 2053850"/>
                    <a:gd name="connsiteX33" fmla="*/ 1227385 w 2051465"/>
                    <a:gd name="connsiteY33" fmla="*/ 1643586 h 2053850"/>
                    <a:gd name="connsiteX34" fmla="*/ 1214768 w 2051465"/>
                    <a:gd name="connsiteY34" fmla="*/ 1669951 h 2053850"/>
                    <a:gd name="connsiteX35" fmla="*/ 1243238 w 2051465"/>
                    <a:gd name="connsiteY35" fmla="*/ 1663929 h 2053850"/>
                    <a:gd name="connsiteX36" fmla="*/ 1264106 w 2051465"/>
                    <a:gd name="connsiteY36" fmla="*/ 1684110 h 2053850"/>
                    <a:gd name="connsiteX37" fmla="*/ 1267341 w 2051465"/>
                    <a:gd name="connsiteY37" fmla="*/ 1655141 h 2053850"/>
                    <a:gd name="connsiteX38" fmla="*/ 1292900 w 2051465"/>
                    <a:gd name="connsiteY38" fmla="*/ 1641307 h 2053850"/>
                    <a:gd name="connsiteX39" fmla="*/ 1266371 w 2051465"/>
                    <a:gd name="connsiteY39" fmla="*/ 1629264 h 2053850"/>
                    <a:gd name="connsiteX40" fmla="*/ 789798 w 2051465"/>
                    <a:gd name="connsiteY40" fmla="*/ 1600620 h 2053850"/>
                    <a:gd name="connsiteX41" fmla="*/ 784699 w 2051465"/>
                    <a:gd name="connsiteY41" fmla="*/ 1629264 h 2053850"/>
                    <a:gd name="connsiteX42" fmla="*/ 758565 w 2051465"/>
                    <a:gd name="connsiteY42" fmla="*/ 1641307 h 2053850"/>
                    <a:gd name="connsiteX43" fmla="*/ 783743 w 2051465"/>
                    <a:gd name="connsiteY43" fmla="*/ 1655141 h 2053850"/>
                    <a:gd name="connsiteX44" fmla="*/ 786930 w 2051465"/>
                    <a:gd name="connsiteY44" fmla="*/ 1684110 h 2053850"/>
                    <a:gd name="connsiteX45" fmla="*/ 807486 w 2051465"/>
                    <a:gd name="connsiteY45" fmla="*/ 1663929 h 2053850"/>
                    <a:gd name="connsiteX46" fmla="*/ 835531 w 2051465"/>
                    <a:gd name="connsiteY46" fmla="*/ 1669951 h 2053850"/>
                    <a:gd name="connsiteX47" fmla="*/ 823102 w 2051465"/>
                    <a:gd name="connsiteY47" fmla="*/ 1643586 h 2053850"/>
                    <a:gd name="connsiteX48" fmla="*/ 837284 w 2051465"/>
                    <a:gd name="connsiteY48" fmla="*/ 1618197 h 2053850"/>
                    <a:gd name="connsiteX49" fmla="*/ 808920 w 2051465"/>
                    <a:gd name="connsiteY49" fmla="*/ 1622103 h 2053850"/>
                    <a:gd name="connsiteX50" fmla="*/ 1357465 w 2051465"/>
                    <a:gd name="connsiteY50" fmla="*/ 1551719 h 2053850"/>
                    <a:gd name="connsiteX51" fmla="*/ 1342004 w 2051465"/>
                    <a:gd name="connsiteY51" fmla="*/ 1576277 h 2053850"/>
                    <a:gd name="connsiteX52" fmla="*/ 1313176 w 2051465"/>
                    <a:gd name="connsiteY52" fmla="*/ 1577408 h 2053850"/>
                    <a:gd name="connsiteX53" fmla="*/ 1331697 w 2051465"/>
                    <a:gd name="connsiteY53" fmla="*/ 1599703 h 2053850"/>
                    <a:gd name="connsiteX54" fmla="*/ 1323806 w 2051465"/>
                    <a:gd name="connsiteY54" fmla="*/ 1627492 h 2053850"/>
                    <a:gd name="connsiteX55" fmla="*/ 1350701 w 2051465"/>
                    <a:gd name="connsiteY55" fmla="*/ 1616829 h 2053850"/>
                    <a:gd name="connsiteX56" fmla="*/ 1374698 w 2051465"/>
                    <a:gd name="connsiteY56" fmla="*/ 1632823 h 2053850"/>
                    <a:gd name="connsiteX57" fmla="*/ 1372765 w 2051465"/>
                    <a:gd name="connsiteY57" fmla="*/ 1603904 h 2053850"/>
                    <a:gd name="connsiteX58" fmla="*/ 1395473 w 2051465"/>
                    <a:gd name="connsiteY58" fmla="*/ 1585970 h 2053850"/>
                    <a:gd name="connsiteX59" fmla="*/ 1367450 w 2051465"/>
                    <a:gd name="connsiteY59" fmla="*/ 1578862 h 2053850"/>
                    <a:gd name="connsiteX60" fmla="*/ 694000 w 2051465"/>
                    <a:gd name="connsiteY60" fmla="*/ 1551719 h 2053850"/>
                    <a:gd name="connsiteX61" fmla="*/ 684015 w 2051465"/>
                    <a:gd name="connsiteY61" fmla="*/ 1578862 h 2053850"/>
                    <a:gd name="connsiteX62" fmla="*/ 655992 w 2051465"/>
                    <a:gd name="connsiteY62" fmla="*/ 1585970 h 2053850"/>
                    <a:gd name="connsiteX63" fmla="*/ 678700 w 2051465"/>
                    <a:gd name="connsiteY63" fmla="*/ 1603904 h 2053850"/>
                    <a:gd name="connsiteX64" fmla="*/ 676768 w 2051465"/>
                    <a:gd name="connsiteY64" fmla="*/ 1632823 h 2053850"/>
                    <a:gd name="connsiteX65" fmla="*/ 700764 w 2051465"/>
                    <a:gd name="connsiteY65" fmla="*/ 1616829 h 2053850"/>
                    <a:gd name="connsiteX66" fmla="*/ 727660 w 2051465"/>
                    <a:gd name="connsiteY66" fmla="*/ 1627492 h 2053850"/>
                    <a:gd name="connsiteX67" fmla="*/ 719768 w 2051465"/>
                    <a:gd name="connsiteY67" fmla="*/ 1599703 h 2053850"/>
                    <a:gd name="connsiteX68" fmla="*/ 738289 w 2051465"/>
                    <a:gd name="connsiteY68" fmla="*/ 1577408 h 2053850"/>
                    <a:gd name="connsiteX69" fmla="*/ 709461 w 2051465"/>
                    <a:gd name="connsiteY69" fmla="*/ 1576277 h 2053850"/>
                    <a:gd name="connsiteX70" fmla="*/ 1442881 w 2051465"/>
                    <a:gd name="connsiteY70" fmla="*/ 1486119 h 2053850"/>
                    <a:gd name="connsiteX71" fmla="*/ 1431951 w 2051465"/>
                    <a:gd name="connsiteY71" fmla="*/ 1512757 h 2053850"/>
                    <a:gd name="connsiteX72" fmla="*/ 1403822 w 2051465"/>
                    <a:gd name="connsiteY72" fmla="*/ 1518854 h 2053850"/>
                    <a:gd name="connsiteX73" fmla="*/ 1425843 w 2051465"/>
                    <a:gd name="connsiteY73" fmla="*/ 1537468 h 2053850"/>
                    <a:gd name="connsiteX74" fmla="*/ 1422950 w 2051465"/>
                    <a:gd name="connsiteY74" fmla="*/ 1566031 h 2053850"/>
                    <a:gd name="connsiteX75" fmla="*/ 1447382 w 2051465"/>
                    <a:gd name="connsiteY75" fmla="*/ 1550947 h 2053850"/>
                    <a:gd name="connsiteX76" fmla="*/ 1473743 w 2051465"/>
                    <a:gd name="connsiteY76" fmla="*/ 1562501 h 2053850"/>
                    <a:gd name="connsiteX77" fmla="*/ 1466992 w 2051465"/>
                    <a:gd name="connsiteY77" fmla="*/ 1534580 h 2053850"/>
                    <a:gd name="connsiteX78" fmla="*/ 1486119 w 2051465"/>
                    <a:gd name="connsiteY78" fmla="*/ 1513078 h 2053850"/>
                    <a:gd name="connsiteX79" fmla="*/ 1457347 w 2051465"/>
                    <a:gd name="connsiteY79" fmla="*/ 1510831 h 2053850"/>
                    <a:gd name="connsiteX80" fmla="*/ 607391 w 2051465"/>
                    <a:gd name="connsiteY80" fmla="*/ 1486119 h 2053850"/>
                    <a:gd name="connsiteX81" fmla="*/ 592925 w 2051465"/>
                    <a:gd name="connsiteY81" fmla="*/ 1510831 h 2053850"/>
                    <a:gd name="connsiteX82" fmla="*/ 564153 w 2051465"/>
                    <a:gd name="connsiteY82" fmla="*/ 1513078 h 2053850"/>
                    <a:gd name="connsiteX83" fmla="*/ 583281 w 2051465"/>
                    <a:gd name="connsiteY83" fmla="*/ 1534580 h 2053850"/>
                    <a:gd name="connsiteX84" fmla="*/ 576530 w 2051465"/>
                    <a:gd name="connsiteY84" fmla="*/ 1562501 h 2053850"/>
                    <a:gd name="connsiteX85" fmla="*/ 602891 w 2051465"/>
                    <a:gd name="connsiteY85" fmla="*/ 1550947 h 2053850"/>
                    <a:gd name="connsiteX86" fmla="*/ 627323 w 2051465"/>
                    <a:gd name="connsiteY86" fmla="*/ 1566031 h 2053850"/>
                    <a:gd name="connsiteX87" fmla="*/ 624429 w 2051465"/>
                    <a:gd name="connsiteY87" fmla="*/ 1537468 h 2053850"/>
                    <a:gd name="connsiteX88" fmla="*/ 646450 w 2051465"/>
                    <a:gd name="connsiteY88" fmla="*/ 1518854 h 2053850"/>
                    <a:gd name="connsiteX89" fmla="*/ 618321 w 2051465"/>
                    <a:gd name="connsiteY89" fmla="*/ 1512757 h 2053850"/>
                    <a:gd name="connsiteX90" fmla="*/ 1516404 w 2051465"/>
                    <a:gd name="connsiteY90" fmla="*/ 1406208 h 2053850"/>
                    <a:gd name="connsiteX91" fmla="*/ 1510318 w 2051465"/>
                    <a:gd name="connsiteY91" fmla="*/ 1434337 h 2053850"/>
                    <a:gd name="connsiteX92" fmla="*/ 1483734 w 2051465"/>
                    <a:gd name="connsiteY92" fmla="*/ 1445267 h 2053850"/>
                    <a:gd name="connsiteX93" fmla="*/ 1508557 w 2051465"/>
                    <a:gd name="connsiteY93" fmla="*/ 1459894 h 2053850"/>
                    <a:gd name="connsiteX94" fmla="*/ 1510799 w 2051465"/>
                    <a:gd name="connsiteY94" fmla="*/ 1488505 h 2053850"/>
                    <a:gd name="connsiteX95" fmla="*/ 1532098 w 2051465"/>
                    <a:gd name="connsiteY95" fmla="*/ 1469378 h 2053850"/>
                    <a:gd name="connsiteX96" fmla="*/ 1560123 w 2051465"/>
                    <a:gd name="connsiteY96" fmla="*/ 1476289 h 2053850"/>
                    <a:gd name="connsiteX97" fmla="*/ 1548593 w 2051465"/>
                    <a:gd name="connsiteY97" fmla="*/ 1449768 h 2053850"/>
                    <a:gd name="connsiteX98" fmla="*/ 1563646 w 2051465"/>
                    <a:gd name="connsiteY98" fmla="*/ 1425336 h 2053850"/>
                    <a:gd name="connsiteX99" fmla="*/ 1534980 w 2051465"/>
                    <a:gd name="connsiteY99" fmla="*/ 1428229 h 2053850"/>
                    <a:gd name="connsiteX100" fmla="*/ 534575 w 2051465"/>
                    <a:gd name="connsiteY100" fmla="*/ 1406208 h 2053850"/>
                    <a:gd name="connsiteX101" fmla="*/ 515721 w 2051465"/>
                    <a:gd name="connsiteY101" fmla="*/ 1428229 h 2053850"/>
                    <a:gd name="connsiteX102" fmla="*/ 486627 w 2051465"/>
                    <a:gd name="connsiteY102" fmla="*/ 1425336 h 2053850"/>
                    <a:gd name="connsiteX103" fmla="*/ 502068 w 2051465"/>
                    <a:gd name="connsiteY103" fmla="*/ 1449768 h 2053850"/>
                    <a:gd name="connsiteX104" fmla="*/ 490203 w 2051465"/>
                    <a:gd name="connsiteY104" fmla="*/ 1476289 h 2053850"/>
                    <a:gd name="connsiteX105" fmla="*/ 518646 w 2051465"/>
                    <a:gd name="connsiteY105" fmla="*/ 1469378 h 2053850"/>
                    <a:gd name="connsiteX106" fmla="*/ 540263 w 2051465"/>
                    <a:gd name="connsiteY106" fmla="*/ 1488505 h 2053850"/>
                    <a:gd name="connsiteX107" fmla="*/ 542539 w 2051465"/>
                    <a:gd name="connsiteY107" fmla="*/ 1459894 h 2053850"/>
                    <a:gd name="connsiteX108" fmla="*/ 567731 w 2051465"/>
                    <a:gd name="connsiteY108" fmla="*/ 1445267 h 2053850"/>
                    <a:gd name="connsiteX109" fmla="*/ 540751 w 2051465"/>
                    <a:gd name="connsiteY109" fmla="*/ 1434337 h 2053850"/>
                    <a:gd name="connsiteX110" fmla="*/ 1575022 w 2051465"/>
                    <a:gd name="connsiteY110" fmla="*/ 1315562 h 2053850"/>
                    <a:gd name="connsiteX111" fmla="*/ 1573729 w 2051465"/>
                    <a:gd name="connsiteY111" fmla="*/ 1344390 h 2053850"/>
                    <a:gd name="connsiteX112" fmla="*/ 1549333 w 2051465"/>
                    <a:gd name="connsiteY112" fmla="*/ 1359851 h 2053850"/>
                    <a:gd name="connsiteX113" fmla="*/ 1576476 w 2051465"/>
                    <a:gd name="connsiteY113" fmla="*/ 1369836 h 2053850"/>
                    <a:gd name="connsiteX114" fmla="*/ 1583584 w 2051465"/>
                    <a:gd name="connsiteY114" fmla="*/ 1397859 h 2053850"/>
                    <a:gd name="connsiteX115" fmla="*/ 1601518 w 2051465"/>
                    <a:gd name="connsiteY115" fmla="*/ 1375151 h 2053850"/>
                    <a:gd name="connsiteX116" fmla="*/ 1630437 w 2051465"/>
                    <a:gd name="connsiteY116" fmla="*/ 1377084 h 2053850"/>
                    <a:gd name="connsiteX117" fmla="*/ 1614443 w 2051465"/>
                    <a:gd name="connsiteY117" fmla="*/ 1353087 h 2053850"/>
                    <a:gd name="connsiteX118" fmla="*/ 1625106 w 2051465"/>
                    <a:gd name="connsiteY118" fmla="*/ 1326192 h 2053850"/>
                    <a:gd name="connsiteX119" fmla="*/ 1597156 w 2051465"/>
                    <a:gd name="connsiteY119" fmla="*/ 1334083 h 2053850"/>
                    <a:gd name="connsiteX120" fmla="*/ 476443 w 2051465"/>
                    <a:gd name="connsiteY120" fmla="*/ 1315562 h 2053850"/>
                    <a:gd name="connsiteX121" fmla="*/ 454309 w 2051465"/>
                    <a:gd name="connsiteY121" fmla="*/ 1334083 h 2053850"/>
                    <a:gd name="connsiteX122" fmla="*/ 426359 w 2051465"/>
                    <a:gd name="connsiteY122" fmla="*/ 1326192 h 2053850"/>
                    <a:gd name="connsiteX123" fmla="*/ 437022 w 2051465"/>
                    <a:gd name="connsiteY123" fmla="*/ 1353087 h 2053850"/>
                    <a:gd name="connsiteX124" fmla="*/ 421027 w 2051465"/>
                    <a:gd name="connsiteY124" fmla="*/ 1377084 h 2053850"/>
                    <a:gd name="connsiteX125" fmla="*/ 449947 w 2051465"/>
                    <a:gd name="connsiteY125" fmla="*/ 1375151 h 2053850"/>
                    <a:gd name="connsiteX126" fmla="*/ 467880 w 2051465"/>
                    <a:gd name="connsiteY126" fmla="*/ 1397859 h 2053850"/>
                    <a:gd name="connsiteX127" fmla="*/ 474989 w 2051465"/>
                    <a:gd name="connsiteY127" fmla="*/ 1369836 h 2053850"/>
                    <a:gd name="connsiteX128" fmla="*/ 502131 w 2051465"/>
                    <a:gd name="connsiteY128" fmla="*/ 1359851 h 2053850"/>
                    <a:gd name="connsiteX129" fmla="*/ 477735 w 2051465"/>
                    <a:gd name="connsiteY129" fmla="*/ 1344390 h 2053850"/>
                    <a:gd name="connsiteX130" fmla="*/ 1615811 w 2051465"/>
                    <a:gd name="connsiteY130" fmla="*/ 1215374 h 2053850"/>
                    <a:gd name="connsiteX131" fmla="*/ 1619717 w 2051465"/>
                    <a:gd name="connsiteY131" fmla="*/ 1244168 h 2053850"/>
                    <a:gd name="connsiteX132" fmla="*/ 1598234 w 2051465"/>
                    <a:gd name="connsiteY132" fmla="*/ 1263580 h 2053850"/>
                    <a:gd name="connsiteX133" fmla="*/ 1626878 w 2051465"/>
                    <a:gd name="connsiteY133" fmla="*/ 1268757 h 2053850"/>
                    <a:gd name="connsiteX134" fmla="*/ 1638921 w 2051465"/>
                    <a:gd name="connsiteY134" fmla="*/ 1295286 h 2053850"/>
                    <a:gd name="connsiteX135" fmla="*/ 1652755 w 2051465"/>
                    <a:gd name="connsiteY135" fmla="*/ 1269727 h 2053850"/>
                    <a:gd name="connsiteX136" fmla="*/ 1681724 w 2051465"/>
                    <a:gd name="connsiteY136" fmla="*/ 1266492 h 2053850"/>
                    <a:gd name="connsiteX137" fmla="*/ 1661543 w 2051465"/>
                    <a:gd name="connsiteY137" fmla="*/ 1245624 h 2053850"/>
                    <a:gd name="connsiteX138" fmla="*/ 1667402 w 2051465"/>
                    <a:gd name="connsiteY138" fmla="*/ 1217154 h 2053850"/>
                    <a:gd name="connsiteX139" fmla="*/ 1641200 w 2051465"/>
                    <a:gd name="connsiteY139" fmla="*/ 1229771 h 2053850"/>
                    <a:gd name="connsiteX140" fmla="*/ 434713 w 2051465"/>
                    <a:gd name="connsiteY140" fmla="*/ 1215374 h 2053850"/>
                    <a:gd name="connsiteX141" fmla="*/ 409687 w 2051465"/>
                    <a:gd name="connsiteY141" fmla="*/ 1229771 h 2053850"/>
                    <a:gd name="connsiteX142" fmla="*/ 383858 w 2051465"/>
                    <a:gd name="connsiteY142" fmla="*/ 1217154 h 2053850"/>
                    <a:gd name="connsiteX143" fmla="*/ 389634 w 2051465"/>
                    <a:gd name="connsiteY143" fmla="*/ 1245624 h 2053850"/>
                    <a:gd name="connsiteX144" fmla="*/ 369741 w 2051465"/>
                    <a:gd name="connsiteY144" fmla="*/ 1266492 h 2053850"/>
                    <a:gd name="connsiteX145" fmla="*/ 398297 w 2051465"/>
                    <a:gd name="connsiteY145" fmla="*/ 1269727 h 2053850"/>
                    <a:gd name="connsiteX146" fmla="*/ 411932 w 2051465"/>
                    <a:gd name="connsiteY146" fmla="*/ 1295286 h 2053850"/>
                    <a:gd name="connsiteX147" fmla="*/ 423804 w 2051465"/>
                    <a:gd name="connsiteY147" fmla="*/ 1268757 h 2053850"/>
                    <a:gd name="connsiteX148" fmla="*/ 452038 w 2051465"/>
                    <a:gd name="connsiteY148" fmla="*/ 1263580 h 2053850"/>
                    <a:gd name="connsiteX149" fmla="*/ 430862 w 2051465"/>
                    <a:gd name="connsiteY149" fmla="*/ 1244168 h 2053850"/>
                    <a:gd name="connsiteX150" fmla="*/ 1690261 w 2051465"/>
                    <a:gd name="connsiteY150" fmla="*/ 1102066 h 2053850"/>
                    <a:gd name="connsiteX151" fmla="*/ 1666655 w 2051465"/>
                    <a:gd name="connsiteY151" fmla="*/ 1119015 h 2053850"/>
                    <a:gd name="connsiteX152" fmla="*/ 1639493 w 2051465"/>
                    <a:gd name="connsiteY152" fmla="*/ 1109237 h 2053850"/>
                    <a:gd name="connsiteX153" fmla="*/ 1648223 w 2051465"/>
                    <a:gd name="connsiteY153" fmla="*/ 1137104 h 2053850"/>
                    <a:gd name="connsiteX154" fmla="*/ 1630438 w 2051465"/>
                    <a:gd name="connsiteY154" fmla="*/ 1160082 h 2053850"/>
                    <a:gd name="connsiteX155" fmla="*/ 1659541 w 2051465"/>
                    <a:gd name="connsiteY155" fmla="*/ 1160245 h 2053850"/>
                    <a:gd name="connsiteX156" fmla="*/ 1675871 w 2051465"/>
                    <a:gd name="connsiteY156" fmla="*/ 1184363 h 2053850"/>
                    <a:gd name="connsiteX157" fmla="*/ 1684926 w 2051465"/>
                    <a:gd name="connsiteY157" fmla="*/ 1156659 h 2053850"/>
                    <a:gd name="connsiteX158" fmla="*/ 1712735 w 2051465"/>
                    <a:gd name="connsiteY158" fmla="*/ 1148511 h 2053850"/>
                    <a:gd name="connsiteX159" fmla="*/ 1689453 w 2051465"/>
                    <a:gd name="connsiteY159" fmla="*/ 1131237 h 2053850"/>
                    <a:gd name="connsiteX160" fmla="*/ 360012 w 2051465"/>
                    <a:gd name="connsiteY160" fmla="*/ 1102066 h 2053850"/>
                    <a:gd name="connsiteX161" fmla="*/ 360821 w 2051465"/>
                    <a:gd name="connsiteY161" fmla="*/ 1131237 h 2053850"/>
                    <a:gd name="connsiteX162" fmla="*/ 337538 w 2051465"/>
                    <a:gd name="connsiteY162" fmla="*/ 1148511 h 2053850"/>
                    <a:gd name="connsiteX163" fmla="*/ 365348 w 2051465"/>
                    <a:gd name="connsiteY163" fmla="*/ 1156659 h 2053850"/>
                    <a:gd name="connsiteX164" fmla="*/ 374402 w 2051465"/>
                    <a:gd name="connsiteY164" fmla="*/ 1184363 h 2053850"/>
                    <a:gd name="connsiteX165" fmla="*/ 390732 w 2051465"/>
                    <a:gd name="connsiteY165" fmla="*/ 1160245 h 2053850"/>
                    <a:gd name="connsiteX166" fmla="*/ 419835 w 2051465"/>
                    <a:gd name="connsiteY166" fmla="*/ 1160082 h 2053850"/>
                    <a:gd name="connsiteX167" fmla="*/ 402050 w 2051465"/>
                    <a:gd name="connsiteY167" fmla="*/ 1137104 h 2053850"/>
                    <a:gd name="connsiteX168" fmla="*/ 410781 w 2051465"/>
                    <a:gd name="connsiteY168" fmla="*/ 1109237 h 2053850"/>
                    <a:gd name="connsiteX169" fmla="*/ 383618 w 2051465"/>
                    <a:gd name="connsiteY169" fmla="*/ 1119015 h 2053850"/>
                    <a:gd name="connsiteX170" fmla="*/ 1693366 w 2051465"/>
                    <a:gd name="connsiteY170" fmla="*/ 985180 h 2053850"/>
                    <a:gd name="connsiteX171" fmla="*/ 1673244 w 2051465"/>
                    <a:gd name="connsiteY171" fmla="*/ 1006012 h 2053850"/>
                    <a:gd name="connsiteX172" fmla="*/ 1644750 w 2051465"/>
                    <a:gd name="connsiteY172" fmla="*/ 1001130 h 2053850"/>
                    <a:gd name="connsiteX173" fmla="*/ 1658273 w 2051465"/>
                    <a:gd name="connsiteY173" fmla="*/ 1027007 h 2053850"/>
                    <a:gd name="connsiteX174" fmla="*/ 1644750 w 2051465"/>
                    <a:gd name="connsiteY174" fmla="*/ 1052721 h 2053850"/>
                    <a:gd name="connsiteX175" fmla="*/ 1673244 w 2051465"/>
                    <a:gd name="connsiteY175" fmla="*/ 1047838 h 2053850"/>
                    <a:gd name="connsiteX176" fmla="*/ 1693366 w 2051465"/>
                    <a:gd name="connsiteY176" fmla="*/ 1068670 h 2053850"/>
                    <a:gd name="connsiteX177" fmla="*/ 1697552 w 2051465"/>
                    <a:gd name="connsiteY177" fmla="*/ 1039864 h 2053850"/>
                    <a:gd name="connsiteX178" fmla="*/ 1723469 w 2051465"/>
                    <a:gd name="connsiteY178" fmla="*/ 1027007 h 2053850"/>
                    <a:gd name="connsiteX179" fmla="*/ 1697552 w 2051465"/>
                    <a:gd name="connsiteY179" fmla="*/ 1013987 h 2053850"/>
                    <a:gd name="connsiteX180" fmla="*/ 357363 w 2051465"/>
                    <a:gd name="connsiteY180" fmla="*/ 985180 h 2053850"/>
                    <a:gd name="connsiteX181" fmla="*/ 353114 w 2051465"/>
                    <a:gd name="connsiteY181" fmla="*/ 1013987 h 2053850"/>
                    <a:gd name="connsiteX182" fmla="*/ 326803 w 2051465"/>
                    <a:gd name="connsiteY182" fmla="*/ 1027007 h 2053850"/>
                    <a:gd name="connsiteX183" fmla="*/ 353114 w 2051465"/>
                    <a:gd name="connsiteY183" fmla="*/ 1039864 h 2053850"/>
                    <a:gd name="connsiteX184" fmla="*/ 357363 w 2051465"/>
                    <a:gd name="connsiteY184" fmla="*/ 1068670 h 2053850"/>
                    <a:gd name="connsiteX185" fmla="*/ 377790 w 2051465"/>
                    <a:gd name="connsiteY185" fmla="*/ 1047838 h 2053850"/>
                    <a:gd name="connsiteX186" fmla="*/ 406715 w 2051465"/>
                    <a:gd name="connsiteY186" fmla="*/ 1052721 h 2053850"/>
                    <a:gd name="connsiteX187" fmla="*/ 392988 w 2051465"/>
                    <a:gd name="connsiteY187" fmla="*/ 1027007 h 2053850"/>
                    <a:gd name="connsiteX188" fmla="*/ 406715 w 2051465"/>
                    <a:gd name="connsiteY188" fmla="*/ 1001130 h 2053850"/>
                    <a:gd name="connsiteX189" fmla="*/ 377790 w 2051465"/>
                    <a:gd name="connsiteY189" fmla="*/ 1006012 h 2053850"/>
                    <a:gd name="connsiteX190" fmla="*/ 1675871 w 2051465"/>
                    <a:gd name="connsiteY190" fmla="*/ 869487 h 2053850"/>
                    <a:gd name="connsiteX191" fmla="*/ 1659541 w 2051465"/>
                    <a:gd name="connsiteY191" fmla="*/ 893558 h 2053850"/>
                    <a:gd name="connsiteX192" fmla="*/ 1630438 w 2051465"/>
                    <a:gd name="connsiteY192" fmla="*/ 893721 h 2053850"/>
                    <a:gd name="connsiteX193" fmla="*/ 1648223 w 2051465"/>
                    <a:gd name="connsiteY193" fmla="*/ 916816 h 2053850"/>
                    <a:gd name="connsiteX194" fmla="*/ 1639493 w 2051465"/>
                    <a:gd name="connsiteY194" fmla="*/ 944628 h 2053850"/>
                    <a:gd name="connsiteX195" fmla="*/ 1666655 w 2051465"/>
                    <a:gd name="connsiteY195" fmla="*/ 934707 h 2053850"/>
                    <a:gd name="connsiteX196" fmla="*/ 1690261 w 2051465"/>
                    <a:gd name="connsiteY196" fmla="*/ 951784 h 2053850"/>
                    <a:gd name="connsiteX197" fmla="*/ 1689453 w 2051465"/>
                    <a:gd name="connsiteY197" fmla="*/ 922509 h 2053850"/>
                    <a:gd name="connsiteX198" fmla="*/ 1712735 w 2051465"/>
                    <a:gd name="connsiteY198" fmla="*/ 905269 h 2053850"/>
                    <a:gd name="connsiteX199" fmla="*/ 1684926 w 2051465"/>
                    <a:gd name="connsiteY199" fmla="*/ 897136 h 2053850"/>
                    <a:gd name="connsiteX200" fmla="*/ 374402 w 2051465"/>
                    <a:gd name="connsiteY200" fmla="*/ 869487 h 2053850"/>
                    <a:gd name="connsiteX201" fmla="*/ 365348 w 2051465"/>
                    <a:gd name="connsiteY201" fmla="*/ 897136 h 2053850"/>
                    <a:gd name="connsiteX202" fmla="*/ 337538 w 2051465"/>
                    <a:gd name="connsiteY202" fmla="*/ 905269 h 2053850"/>
                    <a:gd name="connsiteX203" fmla="*/ 360821 w 2051465"/>
                    <a:gd name="connsiteY203" fmla="*/ 922509 h 2053850"/>
                    <a:gd name="connsiteX204" fmla="*/ 360012 w 2051465"/>
                    <a:gd name="connsiteY204" fmla="*/ 951784 h 2053850"/>
                    <a:gd name="connsiteX205" fmla="*/ 383618 w 2051465"/>
                    <a:gd name="connsiteY205" fmla="*/ 934707 h 2053850"/>
                    <a:gd name="connsiteX206" fmla="*/ 410781 w 2051465"/>
                    <a:gd name="connsiteY206" fmla="*/ 944628 h 2053850"/>
                    <a:gd name="connsiteX207" fmla="*/ 402050 w 2051465"/>
                    <a:gd name="connsiteY207" fmla="*/ 916816 h 2053850"/>
                    <a:gd name="connsiteX208" fmla="*/ 419835 w 2051465"/>
                    <a:gd name="connsiteY208" fmla="*/ 893721 h 2053850"/>
                    <a:gd name="connsiteX209" fmla="*/ 390732 w 2051465"/>
                    <a:gd name="connsiteY209" fmla="*/ 893558 h 2053850"/>
                    <a:gd name="connsiteX210" fmla="*/ 1638921 w 2051465"/>
                    <a:gd name="connsiteY210" fmla="*/ 759758 h 2053850"/>
                    <a:gd name="connsiteX211" fmla="*/ 1626878 w 2051465"/>
                    <a:gd name="connsiteY211" fmla="*/ 785892 h 2053850"/>
                    <a:gd name="connsiteX212" fmla="*/ 1598234 w 2051465"/>
                    <a:gd name="connsiteY212" fmla="*/ 790991 h 2053850"/>
                    <a:gd name="connsiteX213" fmla="*/ 1619717 w 2051465"/>
                    <a:gd name="connsiteY213" fmla="*/ 810272 h 2053850"/>
                    <a:gd name="connsiteX214" fmla="*/ 1615811 w 2051465"/>
                    <a:gd name="connsiteY214" fmla="*/ 838477 h 2053850"/>
                    <a:gd name="connsiteX215" fmla="*/ 1641200 w 2051465"/>
                    <a:gd name="connsiteY215" fmla="*/ 824295 h 2053850"/>
                    <a:gd name="connsiteX216" fmla="*/ 1667402 w 2051465"/>
                    <a:gd name="connsiteY216" fmla="*/ 836724 h 2053850"/>
                    <a:gd name="connsiteX217" fmla="*/ 1661543 w 2051465"/>
                    <a:gd name="connsiteY217" fmla="*/ 808838 h 2053850"/>
                    <a:gd name="connsiteX218" fmla="*/ 1681724 w 2051465"/>
                    <a:gd name="connsiteY218" fmla="*/ 788123 h 2053850"/>
                    <a:gd name="connsiteX219" fmla="*/ 1652755 w 2051465"/>
                    <a:gd name="connsiteY219" fmla="*/ 784936 h 2053850"/>
                    <a:gd name="connsiteX220" fmla="*/ 411932 w 2051465"/>
                    <a:gd name="connsiteY220" fmla="*/ 759758 h 2053850"/>
                    <a:gd name="connsiteX221" fmla="*/ 398297 w 2051465"/>
                    <a:gd name="connsiteY221" fmla="*/ 784936 h 2053850"/>
                    <a:gd name="connsiteX222" fmla="*/ 369741 w 2051465"/>
                    <a:gd name="connsiteY222" fmla="*/ 788123 h 2053850"/>
                    <a:gd name="connsiteX223" fmla="*/ 389634 w 2051465"/>
                    <a:gd name="connsiteY223" fmla="*/ 808838 h 2053850"/>
                    <a:gd name="connsiteX224" fmla="*/ 383858 w 2051465"/>
                    <a:gd name="connsiteY224" fmla="*/ 836724 h 2053850"/>
                    <a:gd name="connsiteX225" fmla="*/ 409687 w 2051465"/>
                    <a:gd name="connsiteY225" fmla="*/ 824295 h 2053850"/>
                    <a:gd name="connsiteX226" fmla="*/ 434713 w 2051465"/>
                    <a:gd name="connsiteY226" fmla="*/ 838477 h 2053850"/>
                    <a:gd name="connsiteX227" fmla="*/ 430862 w 2051465"/>
                    <a:gd name="connsiteY227" fmla="*/ 810272 h 2053850"/>
                    <a:gd name="connsiteX228" fmla="*/ 452038 w 2051465"/>
                    <a:gd name="connsiteY228" fmla="*/ 790991 h 2053850"/>
                    <a:gd name="connsiteX229" fmla="*/ 423804 w 2051465"/>
                    <a:gd name="connsiteY229" fmla="*/ 785892 h 2053850"/>
                    <a:gd name="connsiteX230" fmla="*/ 1583584 w 2051465"/>
                    <a:gd name="connsiteY230" fmla="*/ 655992 h 2053850"/>
                    <a:gd name="connsiteX231" fmla="*/ 1576476 w 2051465"/>
                    <a:gd name="connsiteY231" fmla="*/ 684421 h 2053850"/>
                    <a:gd name="connsiteX232" fmla="*/ 1549333 w 2051465"/>
                    <a:gd name="connsiteY232" fmla="*/ 694551 h 2053850"/>
                    <a:gd name="connsiteX233" fmla="*/ 1573729 w 2051465"/>
                    <a:gd name="connsiteY233" fmla="*/ 710236 h 2053850"/>
                    <a:gd name="connsiteX234" fmla="*/ 1575022 w 2051465"/>
                    <a:gd name="connsiteY234" fmla="*/ 739482 h 2053850"/>
                    <a:gd name="connsiteX235" fmla="*/ 1597156 w 2051465"/>
                    <a:gd name="connsiteY235" fmla="*/ 720856 h 2053850"/>
                    <a:gd name="connsiteX236" fmla="*/ 1625106 w 2051465"/>
                    <a:gd name="connsiteY236" fmla="*/ 728699 h 2053850"/>
                    <a:gd name="connsiteX237" fmla="*/ 1614443 w 2051465"/>
                    <a:gd name="connsiteY237" fmla="*/ 701577 h 2053850"/>
                    <a:gd name="connsiteX238" fmla="*/ 1630437 w 2051465"/>
                    <a:gd name="connsiteY238" fmla="*/ 677232 h 2053850"/>
                    <a:gd name="connsiteX239" fmla="*/ 1601518 w 2051465"/>
                    <a:gd name="connsiteY239" fmla="*/ 679029 h 2053850"/>
                    <a:gd name="connsiteX240" fmla="*/ 467880 w 2051465"/>
                    <a:gd name="connsiteY240" fmla="*/ 655992 h 2053850"/>
                    <a:gd name="connsiteX241" fmla="*/ 449947 w 2051465"/>
                    <a:gd name="connsiteY241" fmla="*/ 679029 h 2053850"/>
                    <a:gd name="connsiteX242" fmla="*/ 421027 w 2051465"/>
                    <a:gd name="connsiteY242" fmla="*/ 677232 h 2053850"/>
                    <a:gd name="connsiteX243" fmla="*/ 437022 w 2051465"/>
                    <a:gd name="connsiteY243" fmla="*/ 701577 h 2053850"/>
                    <a:gd name="connsiteX244" fmla="*/ 426359 w 2051465"/>
                    <a:gd name="connsiteY244" fmla="*/ 728699 h 2053850"/>
                    <a:gd name="connsiteX245" fmla="*/ 454309 w 2051465"/>
                    <a:gd name="connsiteY245" fmla="*/ 720856 h 2053850"/>
                    <a:gd name="connsiteX246" fmla="*/ 476443 w 2051465"/>
                    <a:gd name="connsiteY246" fmla="*/ 739482 h 2053850"/>
                    <a:gd name="connsiteX247" fmla="*/ 477735 w 2051465"/>
                    <a:gd name="connsiteY247" fmla="*/ 710236 h 2053850"/>
                    <a:gd name="connsiteX248" fmla="*/ 502131 w 2051465"/>
                    <a:gd name="connsiteY248" fmla="*/ 694551 h 2053850"/>
                    <a:gd name="connsiteX249" fmla="*/ 474989 w 2051465"/>
                    <a:gd name="connsiteY249" fmla="*/ 684421 h 2053850"/>
                    <a:gd name="connsiteX250" fmla="*/ 1510799 w 2051465"/>
                    <a:gd name="connsiteY250" fmla="*/ 565346 h 2053850"/>
                    <a:gd name="connsiteX251" fmla="*/ 1508557 w 2051465"/>
                    <a:gd name="connsiteY251" fmla="*/ 594118 h 2053850"/>
                    <a:gd name="connsiteX252" fmla="*/ 1483734 w 2051465"/>
                    <a:gd name="connsiteY252" fmla="*/ 608584 h 2053850"/>
                    <a:gd name="connsiteX253" fmla="*/ 1510318 w 2051465"/>
                    <a:gd name="connsiteY253" fmla="*/ 619514 h 2053850"/>
                    <a:gd name="connsiteX254" fmla="*/ 1516404 w 2051465"/>
                    <a:gd name="connsiteY254" fmla="*/ 647643 h 2053850"/>
                    <a:gd name="connsiteX255" fmla="*/ 1534980 w 2051465"/>
                    <a:gd name="connsiteY255" fmla="*/ 625783 h 2053850"/>
                    <a:gd name="connsiteX256" fmla="*/ 1563646 w 2051465"/>
                    <a:gd name="connsiteY256" fmla="*/ 628516 h 2053850"/>
                    <a:gd name="connsiteX257" fmla="*/ 1548593 w 2051465"/>
                    <a:gd name="connsiteY257" fmla="*/ 604084 h 2053850"/>
                    <a:gd name="connsiteX258" fmla="*/ 1560123 w 2051465"/>
                    <a:gd name="connsiteY258" fmla="*/ 577723 h 2053850"/>
                    <a:gd name="connsiteX259" fmla="*/ 1532098 w 2051465"/>
                    <a:gd name="connsiteY259" fmla="*/ 584474 h 2053850"/>
                    <a:gd name="connsiteX260" fmla="*/ 540263 w 2051465"/>
                    <a:gd name="connsiteY260" fmla="*/ 565346 h 2053850"/>
                    <a:gd name="connsiteX261" fmla="*/ 518646 w 2051465"/>
                    <a:gd name="connsiteY261" fmla="*/ 584474 h 2053850"/>
                    <a:gd name="connsiteX262" fmla="*/ 490203 w 2051465"/>
                    <a:gd name="connsiteY262" fmla="*/ 577723 h 2053850"/>
                    <a:gd name="connsiteX263" fmla="*/ 502068 w 2051465"/>
                    <a:gd name="connsiteY263" fmla="*/ 604084 h 2053850"/>
                    <a:gd name="connsiteX264" fmla="*/ 486627 w 2051465"/>
                    <a:gd name="connsiteY264" fmla="*/ 628516 h 2053850"/>
                    <a:gd name="connsiteX265" fmla="*/ 515721 w 2051465"/>
                    <a:gd name="connsiteY265" fmla="*/ 625783 h 2053850"/>
                    <a:gd name="connsiteX266" fmla="*/ 534575 w 2051465"/>
                    <a:gd name="connsiteY266" fmla="*/ 647643 h 2053850"/>
                    <a:gd name="connsiteX267" fmla="*/ 540751 w 2051465"/>
                    <a:gd name="connsiteY267" fmla="*/ 619514 h 2053850"/>
                    <a:gd name="connsiteX268" fmla="*/ 567731 w 2051465"/>
                    <a:gd name="connsiteY268" fmla="*/ 608584 h 2053850"/>
                    <a:gd name="connsiteX269" fmla="*/ 542539 w 2051465"/>
                    <a:gd name="connsiteY269" fmla="*/ 594118 h 2053850"/>
                    <a:gd name="connsiteX270" fmla="*/ 1422950 w 2051465"/>
                    <a:gd name="connsiteY270" fmla="*/ 487819 h 2053850"/>
                    <a:gd name="connsiteX271" fmla="*/ 1425843 w 2051465"/>
                    <a:gd name="connsiteY271" fmla="*/ 516913 h 2053850"/>
                    <a:gd name="connsiteX272" fmla="*/ 1403822 w 2051465"/>
                    <a:gd name="connsiteY272" fmla="*/ 535766 h 2053850"/>
                    <a:gd name="connsiteX273" fmla="*/ 1431951 w 2051465"/>
                    <a:gd name="connsiteY273" fmla="*/ 541943 h 2053850"/>
                    <a:gd name="connsiteX274" fmla="*/ 1442881 w 2051465"/>
                    <a:gd name="connsiteY274" fmla="*/ 568923 h 2053850"/>
                    <a:gd name="connsiteX275" fmla="*/ 1457347 w 2051465"/>
                    <a:gd name="connsiteY275" fmla="*/ 543731 h 2053850"/>
                    <a:gd name="connsiteX276" fmla="*/ 1486119 w 2051465"/>
                    <a:gd name="connsiteY276" fmla="*/ 541618 h 2053850"/>
                    <a:gd name="connsiteX277" fmla="*/ 1466992 w 2051465"/>
                    <a:gd name="connsiteY277" fmla="*/ 519838 h 2053850"/>
                    <a:gd name="connsiteX278" fmla="*/ 1473743 w 2051465"/>
                    <a:gd name="connsiteY278" fmla="*/ 491557 h 2053850"/>
                    <a:gd name="connsiteX279" fmla="*/ 1447382 w 2051465"/>
                    <a:gd name="connsiteY279" fmla="*/ 503260 h 2053850"/>
                    <a:gd name="connsiteX280" fmla="*/ 627323 w 2051465"/>
                    <a:gd name="connsiteY280" fmla="*/ 487819 h 2053850"/>
                    <a:gd name="connsiteX281" fmla="*/ 602891 w 2051465"/>
                    <a:gd name="connsiteY281" fmla="*/ 503260 h 2053850"/>
                    <a:gd name="connsiteX282" fmla="*/ 576530 w 2051465"/>
                    <a:gd name="connsiteY282" fmla="*/ 491557 h 2053850"/>
                    <a:gd name="connsiteX283" fmla="*/ 583281 w 2051465"/>
                    <a:gd name="connsiteY283" fmla="*/ 519838 h 2053850"/>
                    <a:gd name="connsiteX284" fmla="*/ 564153 w 2051465"/>
                    <a:gd name="connsiteY284" fmla="*/ 541618 h 2053850"/>
                    <a:gd name="connsiteX285" fmla="*/ 592925 w 2051465"/>
                    <a:gd name="connsiteY285" fmla="*/ 543731 h 2053850"/>
                    <a:gd name="connsiteX286" fmla="*/ 607391 w 2051465"/>
                    <a:gd name="connsiteY286" fmla="*/ 568923 h 2053850"/>
                    <a:gd name="connsiteX287" fmla="*/ 618321 w 2051465"/>
                    <a:gd name="connsiteY287" fmla="*/ 541943 h 2053850"/>
                    <a:gd name="connsiteX288" fmla="*/ 646450 w 2051465"/>
                    <a:gd name="connsiteY288" fmla="*/ 535766 h 2053850"/>
                    <a:gd name="connsiteX289" fmla="*/ 624429 w 2051465"/>
                    <a:gd name="connsiteY289" fmla="*/ 516913 h 2053850"/>
                    <a:gd name="connsiteX290" fmla="*/ 1374698 w 2051465"/>
                    <a:gd name="connsiteY290" fmla="*/ 421027 h 2053850"/>
                    <a:gd name="connsiteX291" fmla="*/ 1350701 w 2051465"/>
                    <a:gd name="connsiteY291" fmla="*/ 437421 h 2053850"/>
                    <a:gd name="connsiteX292" fmla="*/ 1323806 w 2051465"/>
                    <a:gd name="connsiteY292" fmla="*/ 426437 h 2053850"/>
                    <a:gd name="connsiteX293" fmla="*/ 1331697 w 2051465"/>
                    <a:gd name="connsiteY293" fmla="*/ 454798 h 2053850"/>
                    <a:gd name="connsiteX294" fmla="*/ 1313176 w 2051465"/>
                    <a:gd name="connsiteY294" fmla="*/ 477422 h 2053850"/>
                    <a:gd name="connsiteX295" fmla="*/ 1342004 w 2051465"/>
                    <a:gd name="connsiteY295" fmla="*/ 478569 h 2053850"/>
                    <a:gd name="connsiteX296" fmla="*/ 1357465 w 2051465"/>
                    <a:gd name="connsiteY296" fmla="*/ 503324 h 2053850"/>
                    <a:gd name="connsiteX297" fmla="*/ 1367450 w 2051465"/>
                    <a:gd name="connsiteY297" fmla="*/ 475783 h 2053850"/>
                    <a:gd name="connsiteX298" fmla="*/ 1395473 w 2051465"/>
                    <a:gd name="connsiteY298" fmla="*/ 468569 h 2053850"/>
                    <a:gd name="connsiteX299" fmla="*/ 1372765 w 2051465"/>
                    <a:gd name="connsiteY299" fmla="*/ 450372 h 2053850"/>
                    <a:gd name="connsiteX300" fmla="*/ 676768 w 2051465"/>
                    <a:gd name="connsiteY300" fmla="*/ 421027 h 2053850"/>
                    <a:gd name="connsiteX301" fmla="*/ 678700 w 2051465"/>
                    <a:gd name="connsiteY301" fmla="*/ 450372 h 2053850"/>
                    <a:gd name="connsiteX302" fmla="*/ 655992 w 2051465"/>
                    <a:gd name="connsiteY302" fmla="*/ 468569 h 2053850"/>
                    <a:gd name="connsiteX303" fmla="*/ 684015 w 2051465"/>
                    <a:gd name="connsiteY303" fmla="*/ 475783 h 2053850"/>
                    <a:gd name="connsiteX304" fmla="*/ 694000 w 2051465"/>
                    <a:gd name="connsiteY304" fmla="*/ 503324 h 2053850"/>
                    <a:gd name="connsiteX305" fmla="*/ 709461 w 2051465"/>
                    <a:gd name="connsiteY305" fmla="*/ 478569 h 2053850"/>
                    <a:gd name="connsiteX306" fmla="*/ 738289 w 2051465"/>
                    <a:gd name="connsiteY306" fmla="*/ 477422 h 2053850"/>
                    <a:gd name="connsiteX307" fmla="*/ 719768 w 2051465"/>
                    <a:gd name="connsiteY307" fmla="*/ 454798 h 2053850"/>
                    <a:gd name="connsiteX308" fmla="*/ 727660 w 2051465"/>
                    <a:gd name="connsiteY308" fmla="*/ 426437 h 2053850"/>
                    <a:gd name="connsiteX309" fmla="*/ 700764 w 2051465"/>
                    <a:gd name="connsiteY309" fmla="*/ 437421 h 2053850"/>
                    <a:gd name="connsiteX310" fmla="*/ 1264106 w 2051465"/>
                    <a:gd name="connsiteY310" fmla="*/ 369741 h 2053850"/>
                    <a:gd name="connsiteX311" fmla="*/ 1243238 w 2051465"/>
                    <a:gd name="connsiteY311" fmla="*/ 389883 h 2053850"/>
                    <a:gd name="connsiteX312" fmla="*/ 1214768 w 2051465"/>
                    <a:gd name="connsiteY312" fmla="*/ 384035 h 2053850"/>
                    <a:gd name="connsiteX313" fmla="*/ 1227385 w 2051465"/>
                    <a:gd name="connsiteY313" fmla="*/ 410187 h 2053850"/>
                    <a:gd name="connsiteX314" fmla="*/ 1212988 w 2051465"/>
                    <a:gd name="connsiteY314" fmla="*/ 435526 h 2053850"/>
                    <a:gd name="connsiteX315" fmla="*/ 1241782 w 2051465"/>
                    <a:gd name="connsiteY315" fmla="*/ 431628 h 2053850"/>
                    <a:gd name="connsiteX316" fmla="*/ 1261194 w 2051465"/>
                    <a:gd name="connsiteY316" fmla="*/ 453231 h 2053850"/>
                    <a:gd name="connsiteX317" fmla="*/ 1266371 w 2051465"/>
                    <a:gd name="connsiteY317" fmla="*/ 424481 h 2053850"/>
                    <a:gd name="connsiteX318" fmla="*/ 1292900 w 2051465"/>
                    <a:gd name="connsiteY318" fmla="*/ 412461 h 2053850"/>
                    <a:gd name="connsiteX319" fmla="*/ 1267341 w 2051465"/>
                    <a:gd name="connsiteY319" fmla="*/ 398654 h 2053850"/>
                    <a:gd name="connsiteX320" fmla="*/ 786930 w 2051465"/>
                    <a:gd name="connsiteY320" fmla="*/ 369741 h 2053850"/>
                    <a:gd name="connsiteX321" fmla="*/ 783743 w 2051465"/>
                    <a:gd name="connsiteY321" fmla="*/ 398654 h 2053850"/>
                    <a:gd name="connsiteX322" fmla="*/ 758565 w 2051465"/>
                    <a:gd name="connsiteY322" fmla="*/ 412461 h 2053850"/>
                    <a:gd name="connsiteX323" fmla="*/ 784699 w 2051465"/>
                    <a:gd name="connsiteY323" fmla="*/ 424481 h 2053850"/>
                    <a:gd name="connsiteX324" fmla="*/ 789798 w 2051465"/>
                    <a:gd name="connsiteY324" fmla="*/ 453231 h 2053850"/>
                    <a:gd name="connsiteX325" fmla="*/ 808920 w 2051465"/>
                    <a:gd name="connsiteY325" fmla="*/ 431628 h 2053850"/>
                    <a:gd name="connsiteX326" fmla="*/ 837284 w 2051465"/>
                    <a:gd name="connsiteY326" fmla="*/ 435526 h 2053850"/>
                    <a:gd name="connsiteX327" fmla="*/ 823102 w 2051465"/>
                    <a:gd name="connsiteY327" fmla="*/ 410187 h 2053850"/>
                    <a:gd name="connsiteX328" fmla="*/ 835531 w 2051465"/>
                    <a:gd name="connsiteY328" fmla="*/ 384035 h 2053850"/>
                    <a:gd name="connsiteX329" fmla="*/ 807486 w 2051465"/>
                    <a:gd name="connsiteY329" fmla="*/ 389883 h 2053850"/>
                    <a:gd name="connsiteX330" fmla="*/ 1146715 w 2051465"/>
                    <a:gd name="connsiteY330" fmla="*/ 338730 h 2053850"/>
                    <a:gd name="connsiteX331" fmla="*/ 1129724 w 2051465"/>
                    <a:gd name="connsiteY331" fmla="*/ 362174 h 2053850"/>
                    <a:gd name="connsiteX332" fmla="*/ 1100873 w 2051465"/>
                    <a:gd name="connsiteY332" fmla="*/ 361204 h 2053850"/>
                    <a:gd name="connsiteX333" fmla="*/ 1117703 w 2051465"/>
                    <a:gd name="connsiteY333" fmla="*/ 384810 h 2053850"/>
                    <a:gd name="connsiteX334" fmla="*/ 1108086 w 2051465"/>
                    <a:gd name="connsiteY334" fmla="*/ 412135 h 2053850"/>
                    <a:gd name="connsiteX335" fmla="*/ 1135334 w 2051465"/>
                    <a:gd name="connsiteY335" fmla="*/ 403242 h 2053850"/>
                    <a:gd name="connsiteX336" fmla="*/ 1158095 w 2051465"/>
                    <a:gd name="connsiteY336" fmla="*/ 421027 h 2053850"/>
                    <a:gd name="connsiteX337" fmla="*/ 1158255 w 2051465"/>
                    <a:gd name="connsiteY337" fmla="*/ 391924 h 2053850"/>
                    <a:gd name="connsiteX338" fmla="*/ 1181977 w 2051465"/>
                    <a:gd name="connsiteY338" fmla="*/ 375594 h 2053850"/>
                    <a:gd name="connsiteX339" fmla="*/ 1154729 w 2051465"/>
                    <a:gd name="connsiteY339" fmla="*/ 366540 h 2053850"/>
                    <a:gd name="connsiteX340" fmla="*/ 904076 w 2051465"/>
                    <a:gd name="connsiteY340" fmla="*/ 338730 h 2053850"/>
                    <a:gd name="connsiteX341" fmla="*/ 895943 w 2051465"/>
                    <a:gd name="connsiteY341" fmla="*/ 366540 h 2053850"/>
                    <a:gd name="connsiteX342" fmla="*/ 868294 w 2051465"/>
                    <a:gd name="connsiteY342" fmla="*/ 375594 h 2053850"/>
                    <a:gd name="connsiteX343" fmla="*/ 892365 w 2051465"/>
                    <a:gd name="connsiteY343" fmla="*/ 391924 h 2053850"/>
                    <a:gd name="connsiteX344" fmla="*/ 892528 w 2051465"/>
                    <a:gd name="connsiteY344" fmla="*/ 421027 h 2053850"/>
                    <a:gd name="connsiteX345" fmla="*/ 915623 w 2051465"/>
                    <a:gd name="connsiteY345" fmla="*/ 403242 h 2053850"/>
                    <a:gd name="connsiteX346" fmla="*/ 943272 w 2051465"/>
                    <a:gd name="connsiteY346" fmla="*/ 412135 h 2053850"/>
                    <a:gd name="connsiteX347" fmla="*/ 933514 w 2051465"/>
                    <a:gd name="connsiteY347" fmla="*/ 384810 h 2053850"/>
                    <a:gd name="connsiteX348" fmla="*/ 950591 w 2051465"/>
                    <a:gd name="connsiteY348" fmla="*/ 361204 h 2053850"/>
                    <a:gd name="connsiteX349" fmla="*/ 921316 w 2051465"/>
                    <a:gd name="connsiteY349" fmla="*/ 362174 h 2053850"/>
                    <a:gd name="connsiteX350" fmla="*/ 1025815 w 2051465"/>
                    <a:gd name="connsiteY350" fmla="*/ 327996 h 2053850"/>
                    <a:gd name="connsiteX351" fmla="*/ 1012795 w 2051465"/>
                    <a:gd name="connsiteY351" fmla="*/ 353914 h 2053850"/>
                    <a:gd name="connsiteX352" fmla="*/ 983988 w 2051465"/>
                    <a:gd name="connsiteY352" fmla="*/ 358099 h 2053850"/>
                    <a:gd name="connsiteX353" fmla="*/ 1004820 w 2051465"/>
                    <a:gd name="connsiteY353" fmla="*/ 378222 h 2053850"/>
                    <a:gd name="connsiteX354" fmla="*/ 999938 w 2051465"/>
                    <a:gd name="connsiteY354" fmla="*/ 406715 h 2053850"/>
                    <a:gd name="connsiteX355" fmla="*/ 1025815 w 2051465"/>
                    <a:gd name="connsiteY355" fmla="*/ 393193 h 2053850"/>
                    <a:gd name="connsiteX356" fmla="*/ 1051529 w 2051465"/>
                    <a:gd name="connsiteY356" fmla="*/ 406715 h 2053850"/>
                    <a:gd name="connsiteX357" fmla="*/ 1046646 w 2051465"/>
                    <a:gd name="connsiteY357" fmla="*/ 378222 h 2053850"/>
                    <a:gd name="connsiteX358" fmla="*/ 1067478 w 2051465"/>
                    <a:gd name="connsiteY358" fmla="*/ 358099 h 2053850"/>
                    <a:gd name="connsiteX359" fmla="*/ 1038672 w 2051465"/>
                    <a:gd name="connsiteY359" fmla="*/ 353914 h 2053850"/>
                    <a:gd name="connsiteX360" fmla="*/ 1021692 w 2051465"/>
                    <a:gd name="connsiteY360" fmla="*/ 287509 h 2053850"/>
                    <a:gd name="connsiteX361" fmla="*/ 1748629 w 2051465"/>
                    <a:gd name="connsiteY361" fmla="*/ 1014446 h 2053850"/>
                    <a:gd name="connsiteX362" fmla="*/ 1021692 w 2051465"/>
                    <a:gd name="connsiteY362" fmla="*/ 1741383 h 2053850"/>
                    <a:gd name="connsiteX363" fmla="*/ 294755 w 2051465"/>
                    <a:gd name="connsiteY363" fmla="*/ 1014446 h 2053850"/>
                    <a:gd name="connsiteX364" fmla="*/ 1021692 w 2051465"/>
                    <a:gd name="connsiteY364" fmla="*/ 287509 h 2053850"/>
                    <a:gd name="connsiteX365" fmla="*/ 1021692 w 2051465"/>
                    <a:gd name="connsiteY365" fmla="*/ 204488 h 2053850"/>
                    <a:gd name="connsiteX366" fmla="*/ 211734 w 2051465"/>
                    <a:gd name="connsiteY366" fmla="*/ 1014446 h 2053850"/>
                    <a:gd name="connsiteX367" fmla="*/ 1021692 w 2051465"/>
                    <a:gd name="connsiteY367" fmla="*/ 1824404 h 2053850"/>
                    <a:gd name="connsiteX368" fmla="*/ 1831650 w 2051465"/>
                    <a:gd name="connsiteY368" fmla="*/ 1014446 h 2053850"/>
                    <a:gd name="connsiteX369" fmla="*/ 1021692 w 2051465"/>
                    <a:gd name="connsiteY369" fmla="*/ 204488 h 2053850"/>
                    <a:gd name="connsiteX370" fmla="*/ 1025813 w 2051465"/>
                    <a:gd name="connsiteY370" fmla="*/ 0 h 2053850"/>
                    <a:gd name="connsiteX371" fmla="*/ 1266289 w 2051465"/>
                    <a:gd name="connsiteY371" fmla="*/ 127810 h 2053850"/>
                    <a:gd name="connsiteX372" fmla="*/ 1538559 w 2051465"/>
                    <a:gd name="connsiteY372" fmla="*/ 137667 h 2053850"/>
                    <a:gd name="connsiteX373" fmla="*/ 1683167 w 2051465"/>
                    <a:gd name="connsiteY373" fmla="*/ 368727 h 2053850"/>
                    <a:gd name="connsiteX374" fmla="*/ 1913958 w 2051465"/>
                    <a:gd name="connsiteY374" fmla="*/ 513503 h 2053850"/>
                    <a:gd name="connsiteX375" fmla="*/ 1923803 w 2051465"/>
                    <a:gd name="connsiteY375" fmla="*/ 786089 h 2053850"/>
                    <a:gd name="connsiteX376" fmla="*/ 2051465 w 2051465"/>
                    <a:gd name="connsiteY376" fmla="*/ 1027006 h 2053850"/>
                    <a:gd name="connsiteX377" fmla="*/ 1923803 w 2051465"/>
                    <a:gd name="connsiteY377" fmla="*/ 1267923 h 2053850"/>
                    <a:gd name="connsiteX378" fmla="*/ 1913958 w 2051465"/>
                    <a:gd name="connsiteY378" fmla="*/ 1540347 h 2053850"/>
                    <a:gd name="connsiteX379" fmla="*/ 1683167 w 2051465"/>
                    <a:gd name="connsiteY379" fmla="*/ 1685123 h 2053850"/>
                    <a:gd name="connsiteX380" fmla="*/ 1538559 w 2051465"/>
                    <a:gd name="connsiteY380" fmla="*/ 1916345 h 2053850"/>
                    <a:gd name="connsiteX381" fmla="*/ 1266289 w 2051465"/>
                    <a:gd name="connsiteY381" fmla="*/ 1926040 h 2053850"/>
                    <a:gd name="connsiteX382" fmla="*/ 1025813 w 2051465"/>
                    <a:gd name="connsiteY382" fmla="*/ 2053850 h 2053850"/>
                    <a:gd name="connsiteX383" fmla="*/ 785177 w 2051465"/>
                    <a:gd name="connsiteY383" fmla="*/ 1926040 h 2053850"/>
                    <a:gd name="connsiteX384" fmla="*/ 512907 w 2051465"/>
                    <a:gd name="connsiteY384" fmla="*/ 1916345 h 2053850"/>
                    <a:gd name="connsiteX385" fmla="*/ 368299 w 2051465"/>
                    <a:gd name="connsiteY385" fmla="*/ 1685123 h 2053850"/>
                    <a:gd name="connsiteX386" fmla="*/ 137507 w 2051465"/>
                    <a:gd name="connsiteY386" fmla="*/ 1540347 h 2053850"/>
                    <a:gd name="connsiteX387" fmla="*/ 127662 w 2051465"/>
                    <a:gd name="connsiteY387" fmla="*/ 1267923 h 2053850"/>
                    <a:gd name="connsiteX388" fmla="*/ 0 w 2051465"/>
                    <a:gd name="connsiteY388" fmla="*/ 1027006 h 2053850"/>
                    <a:gd name="connsiteX389" fmla="*/ 127662 w 2051465"/>
                    <a:gd name="connsiteY389" fmla="*/ 786089 h 2053850"/>
                    <a:gd name="connsiteX390" fmla="*/ 137507 w 2051465"/>
                    <a:gd name="connsiteY390" fmla="*/ 513503 h 2053850"/>
                    <a:gd name="connsiteX391" fmla="*/ 368299 w 2051465"/>
                    <a:gd name="connsiteY391" fmla="*/ 368727 h 2053850"/>
                    <a:gd name="connsiteX392" fmla="*/ 512907 w 2051465"/>
                    <a:gd name="connsiteY392" fmla="*/ 137667 h 2053850"/>
                    <a:gd name="connsiteX393" fmla="*/ 785177 w 2051465"/>
                    <a:gd name="connsiteY393" fmla="*/ 127810 h 2053850"/>
                    <a:gd name="connsiteX394" fmla="*/ 1025813 w 2051465"/>
                    <a:gd name="connsiteY394" fmla="*/ 0 h 2053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</a:cxnLst>
                  <a:rect l="l" t="t" r="r" b="b"/>
                  <a:pathLst>
                    <a:path w="2051465" h="2053850">
                      <a:moveTo>
                        <a:pt x="999938" y="1647136"/>
                      </a:moveTo>
                      <a:lnTo>
                        <a:pt x="1004820" y="1675527"/>
                      </a:lnTo>
                      <a:lnTo>
                        <a:pt x="983988" y="1695690"/>
                      </a:lnTo>
                      <a:lnTo>
                        <a:pt x="1012795" y="1699884"/>
                      </a:lnTo>
                      <a:lnTo>
                        <a:pt x="1025815" y="1725855"/>
                      </a:lnTo>
                      <a:lnTo>
                        <a:pt x="1038672" y="1699884"/>
                      </a:lnTo>
                      <a:lnTo>
                        <a:pt x="1067478" y="1695690"/>
                      </a:lnTo>
                      <a:lnTo>
                        <a:pt x="1046646" y="1675527"/>
                      </a:lnTo>
                      <a:lnTo>
                        <a:pt x="1051529" y="1647136"/>
                      </a:lnTo>
                      <a:lnTo>
                        <a:pt x="1025815" y="1660525"/>
                      </a:lnTo>
                      <a:close/>
                      <a:moveTo>
                        <a:pt x="1158095" y="1634016"/>
                      </a:moveTo>
                      <a:lnTo>
                        <a:pt x="1135334" y="1651418"/>
                      </a:lnTo>
                      <a:lnTo>
                        <a:pt x="1108086" y="1642797"/>
                      </a:lnTo>
                      <a:lnTo>
                        <a:pt x="1117703" y="1669779"/>
                      </a:lnTo>
                      <a:lnTo>
                        <a:pt x="1100873" y="1692928"/>
                      </a:lnTo>
                      <a:lnTo>
                        <a:pt x="1129724" y="1692130"/>
                      </a:lnTo>
                      <a:lnTo>
                        <a:pt x="1146715" y="1715120"/>
                      </a:lnTo>
                      <a:lnTo>
                        <a:pt x="1154729" y="1687660"/>
                      </a:lnTo>
                      <a:lnTo>
                        <a:pt x="1181977" y="1678719"/>
                      </a:lnTo>
                      <a:lnTo>
                        <a:pt x="1158255" y="1662594"/>
                      </a:lnTo>
                      <a:close/>
                      <a:moveTo>
                        <a:pt x="892528" y="1634016"/>
                      </a:moveTo>
                      <a:lnTo>
                        <a:pt x="892365" y="1662594"/>
                      </a:lnTo>
                      <a:lnTo>
                        <a:pt x="868294" y="1678719"/>
                      </a:lnTo>
                      <a:lnTo>
                        <a:pt x="895943" y="1687660"/>
                      </a:lnTo>
                      <a:lnTo>
                        <a:pt x="904076" y="1715120"/>
                      </a:lnTo>
                      <a:lnTo>
                        <a:pt x="921316" y="1692130"/>
                      </a:lnTo>
                      <a:lnTo>
                        <a:pt x="950591" y="1692928"/>
                      </a:lnTo>
                      <a:lnTo>
                        <a:pt x="933514" y="1669779"/>
                      </a:lnTo>
                      <a:lnTo>
                        <a:pt x="943272" y="1642797"/>
                      </a:lnTo>
                      <a:lnTo>
                        <a:pt x="915623" y="1651418"/>
                      </a:lnTo>
                      <a:close/>
                      <a:moveTo>
                        <a:pt x="1261194" y="1600620"/>
                      </a:moveTo>
                      <a:lnTo>
                        <a:pt x="1241782" y="1622103"/>
                      </a:lnTo>
                      <a:lnTo>
                        <a:pt x="1212988" y="1618197"/>
                      </a:lnTo>
                      <a:lnTo>
                        <a:pt x="1227385" y="1643586"/>
                      </a:lnTo>
                      <a:lnTo>
                        <a:pt x="1214768" y="1669951"/>
                      </a:lnTo>
                      <a:lnTo>
                        <a:pt x="1243238" y="1663929"/>
                      </a:lnTo>
                      <a:lnTo>
                        <a:pt x="1264106" y="1684110"/>
                      </a:lnTo>
                      <a:lnTo>
                        <a:pt x="1267341" y="1655141"/>
                      </a:lnTo>
                      <a:lnTo>
                        <a:pt x="1292900" y="1641307"/>
                      </a:lnTo>
                      <a:lnTo>
                        <a:pt x="1266371" y="1629264"/>
                      </a:lnTo>
                      <a:close/>
                      <a:moveTo>
                        <a:pt x="789798" y="1600620"/>
                      </a:moveTo>
                      <a:lnTo>
                        <a:pt x="784699" y="1629264"/>
                      </a:lnTo>
                      <a:lnTo>
                        <a:pt x="758565" y="1641307"/>
                      </a:lnTo>
                      <a:lnTo>
                        <a:pt x="783743" y="1655141"/>
                      </a:lnTo>
                      <a:lnTo>
                        <a:pt x="786930" y="1684110"/>
                      </a:lnTo>
                      <a:lnTo>
                        <a:pt x="807486" y="1663929"/>
                      </a:lnTo>
                      <a:lnTo>
                        <a:pt x="835531" y="1669951"/>
                      </a:lnTo>
                      <a:lnTo>
                        <a:pt x="823102" y="1643586"/>
                      </a:lnTo>
                      <a:lnTo>
                        <a:pt x="837284" y="1618197"/>
                      </a:lnTo>
                      <a:lnTo>
                        <a:pt x="808920" y="1622103"/>
                      </a:lnTo>
                      <a:close/>
                      <a:moveTo>
                        <a:pt x="1357465" y="1551719"/>
                      </a:moveTo>
                      <a:lnTo>
                        <a:pt x="1342004" y="1576277"/>
                      </a:lnTo>
                      <a:lnTo>
                        <a:pt x="1313176" y="1577408"/>
                      </a:lnTo>
                      <a:lnTo>
                        <a:pt x="1331697" y="1599703"/>
                      </a:lnTo>
                      <a:lnTo>
                        <a:pt x="1323806" y="1627492"/>
                      </a:lnTo>
                      <a:lnTo>
                        <a:pt x="1350701" y="1616829"/>
                      </a:lnTo>
                      <a:lnTo>
                        <a:pt x="1374698" y="1632823"/>
                      </a:lnTo>
                      <a:lnTo>
                        <a:pt x="1372765" y="1603904"/>
                      </a:lnTo>
                      <a:lnTo>
                        <a:pt x="1395473" y="1585970"/>
                      </a:lnTo>
                      <a:lnTo>
                        <a:pt x="1367450" y="1578862"/>
                      </a:lnTo>
                      <a:close/>
                      <a:moveTo>
                        <a:pt x="694000" y="1551719"/>
                      </a:moveTo>
                      <a:lnTo>
                        <a:pt x="684015" y="1578862"/>
                      </a:lnTo>
                      <a:lnTo>
                        <a:pt x="655992" y="1585970"/>
                      </a:lnTo>
                      <a:lnTo>
                        <a:pt x="678700" y="1603904"/>
                      </a:lnTo>
                      <a:lnTo>
                        <a:pt x="676768" y="1632823"/>
                      </a:lnTo>
                      <a:lnTo>
                        <a:pt x="700764" y="1616829"/>
                      </a:lnTo>
                      <a:lnTo>
                        <a:pt x="727660" y="1627492"/>
                      </a:lnTo>
                      <a:lnTo>
                        <a:pt x="719768" y="1599703"/>
                      </a:lnTo>
                      <a:lnTo>
                        <a:pt x="738289" y="1577408"/>
                      </a:lnTo>
                      <a:lnTo>
                        <a:pt x="709461" y="1576277"/>
                      </a:lnTo>
                      <a:close/>
                      <a:moveTo>
                        <a:pt x="1442881" y="1486119"/>
                      </a:moveTo>
                      <a:lnTo>
                        <a:pt x="1431951" y="1512757"/>
                      </a:lnTo>
                      <a:lnTo>
                        <a:pt x="1403822" y="1518854"/>
                      </a:lnTo>
                      <a:lnTo>
                        <a:pt x="1425843" y="1537468"/>
                      </a:lnTo>
                      <a:lnTo>
                        <a:pt x="1422950" y="1566031"/>
                      </a:lnTo>
                      <a:lnTo>
                        <a:pt x="1447382" y="1550947"/>
                      </a:lnTo>
                      <a:lnTo>
                        <a:pt x="1473743" y="1562501"/>
                      </a:lnTo>
                      <a:lnTo>
                        <a:pt x="1466992" y="1534580"/>
                      </a:lnTo>
                      <a:lnTo>
                        <a:pt x="1486119" y="1513078"/>
                      </a:lnTo>
                      <a:lnTo>
                        <a:pt x="1457347" y="1510831"/>
                      </a:lnTo>
                      <a:close/>
                      <a:moveTo>
                        <a:pt x="607391" y="1486119"/>
                      </a:moveTo>
                      <a:lnTo>
                        <a:pt x="592925" y="1510831"/>
                      </a:lnTo>
                      <a:lnTo>
                        <a:pt x="564153" y="1513078"/>
                      </a:lnTo>
                      <a:lnTo>
                        <a:pt x="583281" y="1534580"/>
                      </a:lnTo>
                      <a:lnTo>
                        <a:pt x="576530" y="1562501"/>
                      </a:lnTo>
                      <a:lnTo>
                        <a:pt x="602891" y="1550947"/>
                      </a:lnTo>
                      <a:lnTo>
                        <a:pt x="627323" y="1566031"/>
                      </a:lnTo>
                      <a:lnTo>
                        <a:pt x="624429" y="1537468"/>
                      </a:lnTo>
                      <a:lnTo>
                        <a:pt x="646450" y="1518854"/>
                      </a:lnTo>
                      <a:lnTo>
                        <a:pt x="618321" y="1512757"/>
                      </a:lnTo>
                      <a:close/>
                      <a:moveTo>
                        <a:pt x="1516404" y="1406208"/>
                      </a:moveTo>
                      <a:lnTo>
                        <a:pt x="1510318" y="1434337"/>
                      </a:lnTo>
                      <a:lnTo>
                        <a:pt x="1483734" y="1445267"/>
                      </a:lnTo>
                      <a:lnTo>
                        <a:pt x="1508557" y="1459894"/>
                      </a:lnTo>
                      <a:lnTo>
                        <a:pt x="1510799" y="1488505"/>
                      </a:lnTo>
                      <a:lnTo>
                        <a:pt x="1532098" y="1469378"/>
                      </a:lnTo>
                      <a:lnTo>
                        <a:pt x="1560123" y="1476289"/>
                      </a:lnTo>
                      <a:lnTo>
                        <a:pt x="1548593" y="1449768"/>
                      </a:lnTo>
                      <a:lnTo>
                        <a:pt x="1563646" y="1425336"/>
                      </a:lnTo>
                      <a:lnTo>
                        <a:pt x="1534980" y="1428229"/>
                      </a:lnTo>
                      <a:close/>
                      <a:moveTo>
                        <a:pt x="534575" y="1406208"/>
                      </a:moveTo>
                      <a:lnTo>
                        <a:pt x="515721" y="1428229"/>
                      </a:lnTo>
                      <a:lnTo>
                        <a:pt x="486627" y="1425336"/>
                      </a:lnTo>
                      <a:lnTo>
                        <a:pt x="502068" y="1449768"/>
                      </a:lnTo>
                      <a:lnTo>
                        <a:pt x="490203" y="1476289"/>
                      </a:lnTo>
                      <a:lnTo>
                        <a:pt x="518646" y="1469378"/>
                      </a:lnTo>
                      <a:lnTo>
                        <a:pt x="540263" y="1488505"/>
                      </a:lnTo>
                      <a:lnTo>
                        <a:pt x="542539" y="1459894"/>
                      </a:lnTo>
                      <a:lnTo>
                        <a:pt x="567731" y="1445267"/>
                      </a:lnTo>
                      <a:lnTo>
                        <a:pt x="540751" y="1434337"/>
                      </a:lnTo>
                      <a:close/>
                      <a:moveTo>
                        <a:pt x="1575022" y="1315562"/>
                      </a:moveTo>
                      <a:lnTo>
                        <a:pt x="1573729" y="1344390"/>
                      </a:lnTo>
                      <a:lnTo>
                        <a:pt x="1549333" y="1359851"/>
                      </a:lnTo>
                      <a:lnTo>
                        <a:pt x="1576476" y="1369836"/>
                      </a:lnTo>
                      <a:lnTo>
                        <a:pt x="1583584" y="1397859"/>
                      </a:lnTo>
                      <a:lnTo>
                        <a:pt x="1601518" y="1375151"/>
                      </a:lnTo>
                      <a:lnTo>
                        <a:pt x="1630437" y="1377084"/>
                      </a:lnTo>
                      <a:lnTo>
                        <a:pt x="1614443" y="1353087"/>
                      </a:lnTo>
                      <a:lnTo>
                        <a:pt x="1625106" y="1326192"/>
                      </a:lnTo>
                      <a:lnTo>
                        <a:pt x="1597156" y="1334083"/>
                      </a:lnTo>
                      <a:close/>
                      <a:moveTo>
                        <a:pt x="476443" y="1315562"/>
                      </a:moveTo>
                      <a:lnTo>
                        <a:pt x="454309" y="1334083"/>
                      </a:lnTo>
                      <a:lnTo>
                        <a:pt x="426359" y="1326192"/>
                      </a:lnTo>
                      <a:lnTo>
                        <a:pt x="437022" y="1353087"/>
                      </a:lnTo>
                      <a:lnTo>
                        <a:pt x="421027" y="1377084"/>
                      </a:lnTo>
                      <a:lnTo>
                        <a:pt x="449947" y="1375151"/>
                      </a:lnTo>
                      <a:lnTo>
                        <a:pt x="467880" y="1397859"/>
                      </a:lnTo>
                      <a:lnTo>
                        <a:pt x="474989" y="1369836"/>
                      </a:lnTo>
                      <a:lnTo>
                        <a:pt x="502131" y="1359851"/>
                      </a:lnTo>
                      <a:lnTo>
                        <a:pt x="477735" y="1344390"/>
                      </a:lnTo>
                      <a:close/>
                      <a:moveTo>
                        <a:pt x="1615811" y="1215374"/>
                      </a:moveTo>
                      <a:lnTo>
                        <a:pt x="1619717" y="1244168"/>
                      </a:lnTo>
                      <a:lnTo>
                        <a:pt x="1598234" y="1263580"/>
                      </a:lnTo>
                      <a:lnTo>
                        <a:pt x="1626878" y="1268757"/>
                      </a:lnTo>
                      <a:lnTo>
                        <a:pt x="1638921" y="1295286"/>
                      </a:lnTo>
                      <a:lnTo>
                        <a:pt x="1652755" y="1269727"/>
                      </a:lnTo>
                      <a:lnTo>
                        <a:pt x="1681724" y="1266492"/>
                      </a:lnTo>
                      <a:lnTo>
                        <a:pt x="1661543" y="1245624"/>
                      </a:lnTo>
                      <a:lnTo>
                        <a:pt x="1667402" y="1217154"/>
                      </a:lnTo>
                      <a:lnTo>
                        <a:pt x="1641200" y="1229771"/>
                      </a:lnTo>
                      <a:close/>
                      <a:moveTo>
                        <a:pt x="434713" y="1215374"/>
                      </a:moveTo>
                      <a:lnTo>
                        <a:pt x="409687" y="1229771"/>
                      </a:lnTo>
                      <a:lnTo>
                        <a:pt x="383858" y="1217154"/>
                      </a:lnTo>
                      <a:lnTo>
                        <a:pt x="389634" y="1245624"/>
                      </a:lnTo>
                      <a:lnTo>
                        <a:pt x="369741" y="1266492"/>
                      </a:lnTo>
                      <a:lnTo>
                        <a:pt x="398297" y="1269727"/>
                      </a:lnTo>
                      <a:lnTo>
                        <a:pt x="411932" y="1295286"/>
                      </a:lnTo>
                      <a:lnTo>
                        <a:pt x="423804" y="1268757"/>
                      </a:lnTo>
                      <a:lnTo>
                        <a:pt x="452038" y="1263580"/>
                      </a:lnTo>
                      <a:lnTo>
                        <a:pt x="430862" y="1244168"/>
                      </a:lnTo>
                      <a:close/>
                      <a:moveTo>
                        <a:pt x="1690261" y="1102066"/>
                      </a:moveTo>
                      <a:lnTo>
                        <a:pt x="1666655" y="1119015"/>
                      </a:lnTo>
                      <a:lnTo>
                        <a:pt x="1639493" y="1109237"/>
                      </a:lnTo>
                      <a:lnTo>
                        <a:pt x="1648223" y="1137104"/>
                      </a:lnTo>
                      <a:lnTo>
                        <a:pt x="1630438" y="1160082"/>
                      </a:lnTo>
                      <a:lnTo>
                        <a:pt x="1659541" y="1160245"/>
                      </a:lnTo>
                      <a:lnTo>
                        <a:pt x="1675871" y="1184363"/>
                      </a:lnTo>
                      <a:lnTo>
                        <a:pt x="1684926" y="1156659"/>
                      </a:lnTo>
                      <a:lnTo>
                        <a:pt x="1712735" y="1148511"/>
                      </a:lnTo>
                      <a:lnTo>
                        <a:pt x="1689453" y="1131237"/>
                      </a:lnTo>
                      <a:close/>
                      <a:moveTo>
                        <a:pt x="360012" y="1102066"/>
                      </a:moveTo>
                      <a:lnTo>
                        <a:pt x="360821" y="1131237"/>
                      </a:lnTo>
                      <a:lnTo>
                        <a:pt x="337538" y="1148511"/>
                      </a:lnTo>
                      <a:lnTo>
                        <a:pt x="365348" y="1156659"/>
                      </a:lnTo>
                      <a:lnTo>
                        <a:pt x="374402" y="1184363"/>
                      </a:lnTo>
                      <a:lnTo>
                        <a:pt x="390732" y="1160245"/>
                      </a:lnTo>
                      <a:lnTo>
                        <a:pt x="419835" y="1160082"/>
                      </a:lnTo>
                      <a:lnTo>
                        <a:pt x="402050" y="1137104"/>
                      </a:lnTo>
                      <a:lnTo>
                        <a:pt x="410781" y="1109237"/>
                      </a:lnTo>
                      <a:lnTo>
                        <a:pt x="383618" y="1119015"/>
                      </a:lnTo>
                      <a:close/>
                      <a:moveTo>
                        <a:pt x="1693366" y="985180"/>
                      </a:moveTo>
                      <a:lnTo>
                        <a:pt x="1673244" y="1006012"/>
                      </a:lnTo>
                      <a:lnTo>
                        <a:pt x="1644750" y="1001130"/>
                      </a:lnTo>
                      <a:lnTo>
                        <a:pt x="1658273" y="1027007"/>
                      </a:lnTo>
                      <a:lnTo>
                        <a:pt x="1644750" y="1052721"/>
                      </a:lnTo>
                      <a:lnTo>
                        <a:pt x="1673244" y="1047838"/>
                      </a:lnTo>
                      <a:lnTo>
                        <a:pt x="1693366" y="1068670"/>
                      </a:lnTo>
                      <a:lnTo>
                        <a:pt x="1697552" y="1039864"/>
                      </a:lnTo>
                      <a:lnTo>
                        <a:pt x="1723469" y="1027007"/>
                      </a:lnTo>
                      <a:lnTo>
                        <a:pt x="1697552" y="1013987"/>
                      </a:lnTo>
                      <a:close/>
                      <a:moveTo>
                        <a:pt x="357363" y="985180"/>
                      </a:moveTo>
                      <a:lnTo>
                        <a:pt x="353114" y="1013987"/>
                      </a:lnTo>
                      <a:lnTo>
                        <a:pt x="326803" y="1027007"/>
                      </a:lnTo>
                      <a:lnTo>
                        <a:pt x="353114" y="1039864"/>
                      </a:lnTo>
                      <a:lnTo>
                        <a:pt x="357363" y="1068670"/>
                      </a:lnTo>
                      <a:lnTo>
                        <a:pt x="377790" y="1047838"/>
                      </a:lnTo>
                      <a:lnTo>
                        <a:pt x="406715" y="1052721"/>
                      </a:lnTo>
                      <a:lnTo>
                        <a:pt x="392988" y="1027007"/>
                      </a:lnTo>
                      <a:lnTo>
                        <a:pt x="406715" y="1001130"/>
                      </a:lnTo>
                      <a:lnTo>
                        <a:pt x="377790" y="1006012"/>
                      </a:lnTo>
                      <a:close/>
                      <a:moveTo>
                        <a:pt x="1675871" y="869487"/>
                      </a:moveTo>
                      <a:lnTo>
                        <a:pt x="1659541" y="893558"/>
                      </a:lnTo>
                      <a:lnTo>
                        <a:pt x="1630438" y="893721"/>
                      </a:lnTo>
                      <a:lnTo>
                        <a:pt x="1648223" y="916816"/>
                      </a:lnTo>
                      <a:lnTo>
                        <a:pt x="1639493" y="944628"/>
                      </a:lnTo>
                      <a:lnTo>
                        <a:pt x="1666655" y="934707"/>
                      </a:lnTo>
                      <a:lnTo>
                        <a:pt x="1690261" y="951784"/>
                      </a:lnTo>
                      <a:lnTo>
                        <a:pt x="1689453" y="922509"/>
                      </a:lnTo>
                      <a:lnTo>
                        <a:pt x="1712735" y="905269"/>
                      </a:lnTo>
                      <a:lnTo>
                        <a:pt x="1684926" y="897136"/>
                      </a:lnTo>
                      <a:close/>
                      <a:moveTo>
                        <a:pt x="374402" y="869487"/>
                      </a:moveTo>
                      <a:lnTo>
                        <a:pt x="365348" y="897136"/>
                      </a:lnTo>
                      <a:lnTo>
                        <a:pt x="337538" y="905269"/>
                      </a:lnTo>
                      <a:lnTo>
                        <a:pt x="360821" y="922509"/>
                      </a:lnTo>
                      <a:lnTo>
                        <a:pt x="360012" y="951784"/>
                      </a:lnTo>
                      <a:lnTo>
                        <a:pt x="383618" y="934707"/>
                      </a:lnTo>
                      <a:lnTo>
                        <a:pt x="410781" y="944628"/>
                      </a:lnTo>
                      <a:lnTo>
                        <a:pt x="402050" y="916816"/>
                      </a:lnTo>
                      <a:lnTo>
                        <a:pt x="419835" y="893721"/>
                      </a:lnTo>
                      <a:lnTo>
                        <a:pt x="390732" y="893558"/>
                      </a:lnTo>
                      <a:close/>
                      <a:moveTo>
                        <a:pt x="1638921" y="759758"/>
                      </a:moveTo>
                      <a:lnTo>
                        <a:pt x="1626878" y="785892"/>
                      </a:lnTo>
                      <a:lnTo>
                        <a:pt x="1598234" y="790991"/>
                      </a:lnTo>
                      <a:lnTo>
                        <a:pt x="1619717" y="810272"/>
                      </a:lnTo>
                      <a:lnTo>
                        <a:pt x="1615811" y="838477"/>
                      </a:lnTo>
                      <a:lnTo>
                        <a:pt x="1641200" y="824295"/>
                      </a:lnTo>
                      <a:lnTo>
                        <a:pt x="1667402" y="836724"/>
                      </a:lnTo>
                      <a:lnTo>
                        <a:pt x="1661543" y="808838"/>
                      </a:lnTo>
                      <a:lnTo>
                        <a:pt x="1681724" y="788123"/>
                      </a:lnTo>
                      <a:lnTo>
                        <a:pt x="1652755" y="784936"/>
                      </a:lnTo>
                      <a:close/>
                      <a:moveTo>
                        <a:pt x="411932" y="759758"/>
                      </a:moveTo>
                      <a:lnTo>
                        <a:pt x="398297" y="784936"/>
                      </a:lnTo>
                      <a:lnTo>
                        <a:pt x="369741" y="788123"/>
                      </a:lnTo>
                      <a:lnTo>
                        <a:pt x="389634" y="808838"/>
                      </a:lnTo>
                      <a:lnTo>
                        <a:pt x="383858" y="836724"/>
                      </a:lnTo>
                      <a:lnTo>
                        <a:pt x="409687" y="824295"/>
                      </a:lnTo>
                      <a:lnTo>
                        <a:pt x="434713" y="838477"/>
                      </a:lnTo>
                      <a:lnTo>
                        <a:pt x="430862" y="810272"/>
                      </a:lnTo>
                      <a:lnTo>
                        <a:pt x="452038" y="790991"/>
                      </a:lnTo>
                      <a:lnTo>
                        <a:pt x="423804" y="785892"/>
                      </a:lnTo>
                      <a:close/>
                      <a:moveTo>
                        <a:pt x="1583584" y="655992"/>
                      </a:moveTo>
                      <a:lnTo>
                        <a:pt x="1576476" y="684421"/>
                      </a:lnTo>
                      <a:lnTo>
                        <a:pt x="1549333" y="694551"/>
                      </a:lnTo>
                      <a:lnTo>
                        <a:pt x="1573729" y="710236"/>
                      </a:lnTo>
                      <a:lnTo>
                        <a:pt x="1575022" y="739482"/>
                      </a:lnTo>
                      <a:lnTo>
                        <a:pt x="1597156" y="720856"/>
                      </a:lnTo>
                      <a:lnTo>
                        <a:pt x="1625106" y="728699"/>
                      </a:lnTo>
                      <a:lnTo>
                        <a:pt x="1614443" y="701577"/>
                      </a:lnTo>
                      <a:lnTo>
                        <a:pt x="1630437" y="677232"/>
                      </a:lnTo>
                      <a:lnTo>
                        <a:pt x="1601518" y="679029"/>
                      </a:lnTo>
                      <a:close/>
                      <a:moveTo>
                        <a:pt x="467880" y="655992"/>
                      </a:moveTo>
                      <a:lnTo>
                        <a:pt x="449947" y="679029"/>
                      </a:lnTo>
                      <a:lnTo>
                        <a:pt x="421027" y="677232"/>
                      </a:lnTo>
                      <a:lnTo>
                        <a:pt x="437022" y="701577"/>
                      </a:lnTo>
                      <a:lnTo>
                        <a:pt x="426359" y="728699"/>
                      </a:lnTo>
                      <a:lnTo>
                        <a:pt x="454309" y="720856"/>
                      </a:lnTo>
                      <a:lnTo>
                        <a:pt x="476443" y="739482"/>
                      </a:lnTo>
                      <a:lnTo>
                        <a:pt x="477735" y="710236"/>
                      </a:lnTo>
                      <a:lnTo>
                        <a:pt x="502131" y="694551"/>
                      </a:lnTo>
                      <a:lnTo>
                        <a:pt x="474989" y="684421"/>
                      </a:lnTo>
                      <a:close/>
                      <a:moveTo>
                        <a:pt x="1510799" y="565346"/>
                      </a:moveTo>
                      <a:lnTo>
                        <a:pt x="1508557" y="594118"/>
                      </a:lnTo>
                      <a:lnTo>
                        <a:pt x="1483734" y="608584"/>
                      </a:lnTo>
                      <a:lnTo>
                        <a:pt x="1510318" y="619514"/>
                      </a:lnTo>
                      <a:lnTo>
                        <a:pt x="1516404" y="647643"/>
                      </a:lnTo>
                      <a:lnTo>
                        <a:pt x="1534980" y="625783"/>
                      </a:lnTo>
                      <a:lnTo>
                        <a:pt x="1563646" y="628516"/>
                      </a:lnTo>
                      <a:lnTo>
                        <a:pt x="1548593" y="604084"/>
                      </a:lnTo>
                      <a:lnTo>
                        <a:pt x="1560123" y="577723"/>
                      </a:lnTo>
                      <a:lnTo>
                        <a:pt x="1532098" y="584474"/>
                      </a:lnTo>
                      <a:close/>
                      <a:moveTo>
                        <a:pt x="540263" y="565346"/>
                      </a:moveTo>
                      <a:lnTo>
                        <a:pt x="518646" y="584474"/>
                      </a:lnTo>
                      <a:lnTo>
                        <a:pt x="490203" y="577723"/>
                      </a:lnTo>
                      <a:lnTo>
                        <a:pt x="502068" y="604084"/>
                      </a:lnTo>
                      <a:lnTo>
                        <a:pt x="486627" y="628516"/>
                      </a:lnTo>
                      <a:lnTo>
                        <a:pt x="515721" y="625783"/>
                      </a:lnTo>
                      <a:lnTo>
                        <a:pt x="534575" y="647643"/>
                      </a:lnTo>
                      <a:lnTo>
                        <a:pt x="540751" y="619514"/>
                      </a:lnTo>
                      <a:lnTo>
                        <a:pt x="567731" y="608584"/>
                      </a:lnTo>
                      <a:lnTo>
                        <a:pt x="542539" y="594118"/>
                      </a:lnTo>
                      <a:close/>
                      <a:moveTo>
                        <a:pt x="1422950" y="487819"/>
                      </a:moveTo>
                      <a:lnTo>
                        <a:pt x="1425843" y="516913"/>
                      </a:lnTo>
                      <a:lnTo>
                        <a:pt x="1403822" y="535766"/>
                      </a:lnTo>
                      <a:lnTo>
                        <a:pt x="1431951" y="541943"/>
                      </a:lnTo>
                      <a:lnTo>
                        <a:pt x="1442881" y="568923"/>
                      </a:lnTo>
                      <a:lnTo>
                        <a:pt x="1457347" y="543731"/>
                      </a:lnTo>
                      <a:lnTo>
                        <a:pt x="1486119" y="541618"/>
                      </a:lnTo>
                      <a:lnTo>
                        <a:pt x="1466992" y="519838"/>
                      </a:lnTo>
                      <a:lnTo>
                        <a:pt x="1473743" y="491557"/>
                      </a:lnTo>
                      <a:lnTo>
                        <a:pt x="1447382" y="503260"/>
                      </a:lnTo>
                      <a:close/>
                      <a:moveTo>
                        <a:pt x="627323" y="487819"/>
                      </a:moveTo>
                      <a:lnTo>
                        <a:pt x="602891" y="503260"/>
                      </a:lnTo>
                      <a:lnTo>
                        <a:pt x="576530" y="491557"/>
                      </a:lnTo>
                      <a:lnTo>
                        <a:pt x="583281" y="519838"/>
                      </a:lnTo>
                      <a:lnTo>
                        <a:pt x="564153" y="541618"/>
                      </a:lnTo>
                      <a:lnTo>
                        <a:pt x="592925" y="543731"/>
                      </a:lnTo>
                      <a:lnTo>
                        <a:pt x="607391" y="568923"/>
                      </a:lnTo>
                      <a:lnTo>
                        <a:pt x="618321" y="541943"/>
                      </a:lnTo>
                      <a:lnTo>
                        <a:pt x="646450" y="535766"/>
                      </a:lnTo>
                      <a:lnTo>
                        <a:pt x="624429" y="516913"/>
                      </a:lnTo>
                      <a:close/>
                      <a:moveTo>
                        <a:pt x="1374698" y="421027"/>
                      </a:moveTo>
                      <a:lnTo>
                        <a:pt x="1350701" y="437421"/>
                      </a:lnTo>
                      <a:lnTo>
                        <a:pt x="1323806" y="426437"/>
                      </a:lnTo>
                      <a:lnTo>
                        <a:pt x="1331697" y="454798"/>
                      </a:lnTo>
                      <a:lnTo>
                        <a:pt x="1313176" y="477422"/>
                      </a:lnTo>
                      <a:lnTo>
                        <a:pt x="1342004" y="478569"/>
                      </a:lnTo>
                      <a:lnTo>
                        <a:pt x="1357465" y="503324"/>
                      </a:lnTo>
                      <a:lnTo>
                        <a:pt x="1367450" y="475783"/>
                      </a:lnTo>
                      <a:lnTo>
                        <a:pt x="1395473" y="468569"/>
                      </a:lnTo>
                      <a:lnTo>
                        <a:pt x="1372765" y="450372"/>
                      </a:lnTo>
                      <a:close/>
                      <a:moveTo>
                        <a:pt x="676768" y="421027"/>
                      </a:moveTo>
                      <a:lnTo>
                        <a:pt x="678700" y="450372"/>
                      </a:lnTo>
                      <a:lnTo>
                        <a:pt x="655992" y="468569"/>
                      </a:lnTo>
                      <a:lnTo>
                        <a:pt x="684015" y="475783"/>
                      </a:lnTo>
                      <a:lnTo>
                        <a:pt x="694000" y="503324"/>
                      </a:lnTo>
                      <a:lnTo>
                        <a:pt x="709461" y="478569"/>
                      </a:lnTo>
                      <a:lnTo>
                        <a:pt x="738289" y="477422"/>
                      </a:lnTo>
                      <a:lnTo>
                        <a:pt x="719768" y="454798"/>
                      </a:lnTo>
                      <a:lnTo>
                        <a:pt x="727660" y="426437"/>
                      </a:lnTo>
                      <a:lnTo>
                        <a:pt x="700764" y="437421"/>
                      </a:lnTo>
                      <a:close/>
                      <a:moveTo>
                        <a:pt x="1264106" y="369741"/>
                      </a:moveTo>
                      <a:lnTo>
                        <a:pt x="1243238" y="389883"/>
                      </a:lnTo>
                      <a:lnTo>
                        <a:pt x="1214768" y="384035"/>
                      </a:lnTo>
                      <a:lnTo>
                        <a:pt x="1227385" y="410187"/>
                      </a:lnTo>
                      <a:lnTo>
                        <a:pt x="1212988" y="435526"/>
                      </a:lnTo>
                      <a:lnTo>
                        <a:pt x="1241782" y="431628"/>
                      </a:lnTo>
                      <a:lnTo>
                        <a:pt x="1261194" y="453231"/>
                      </a:lnTo>
                      <a:lnTo>
                        <a:pt x="1266371" y="424481"/>
                      </a:lnTo>
                      <a:lnTo>
                        <a:pt x="1292900" y="412461"/>
                      </a:lnTo>
                      <a:lnTo>
                        <a:pt x="1267341" y="398654"/>
                      </a:lnTo>
                      <a:close/>
                      <a:moveTo>
                        <a:pt x="786930" y="369741"/>
                      </a:moveTo>
                      <a:lnTo>
                        <a:pt x="783743" y="398654"/>
                      </a:lnTo>
                      <a:lnTo>
                        <a:pt x="758565" y="412461"/>
                      </a:lnTo>
                      <a:lnTo>
                        <a:pt x="784699" y="424481"/>
                      </a:lnTo>
                      <a:lnTo>
                        <a:pt x="789798" y="453231"/>
                      </a:lnTo>
                      <a:lnTo>
                        <a:pt x="808920" y="431628"/>
                      </a:lnTo>
                      <a:lnTo>
                        <a:pt x="837284" y="435526"/>
                      </a:lnTo>
                      <a:lnTo>
                        <a:pt x="823102" y="410187"/>
                      </a:lnTo>
                      <a:lnTo>
                        <a:pt x="835531" y="384035"/>
                      </a:lnTo>
                      <a:lnTo>
                        <a:pt x="807486" y="389883"/>
                      </a:lnTo>
                      <a:close/>
                      <a:moveTo>
                        <a:pt x="1146715" y="338730"/>
                      </a:moveTo>
                      <a:lnTo>
                        <a:pt x="1129724" y="362174"/>
                      </a:lnTo>
                      <a:lnTo>
                        <a:pt x="1100873" y="361204"/>
                      </a:lnTo>
                      <a:lnTo>
                        <a:pt x="1117703" y="384810"/>
                      </a:lnTo>
                      <a:lnTo>
                        <a:pt x="1108086" y="412135"/>
                      </a:lnTo>
                      <a:lnTo>
                        <a:pt x="1135334" y="403242"/>
                      </a:lnTo>
                      <a:lnTo>
                        <a:pt x="1158095" y="421027"/>
                      </a:lnTo>
                      <a:lnTo>
                        <a:pt x="1158255" y="391924"/>
                      </a:lnTo>
                      <a:lnTo>
                        <a:pt x="1181977" y="375594"/>
                      </a:lnTo>
                      <a:lnTo>
                        <a:pt x="1154729" y="366540"/>
                      </a:lnTo>
                      <a:close/>
                      <a:moveTo>
                        <a:pt x="904076" y="338730"/>
                      </a:moveTo>
                      <a:lnTo>
                        <a:pt x="895943" y="366540"/>
                      </a:lnTo>
                      <a:lnTo>
                        <a:pt x="868294" y="375594"/>
                      </a:lnTo>
                      <a:lnTo>
                        <a:pt x="892365" y="391924"/>
                      </a:lnTo>
                      <a:lnTo>
                        <a:pt x="892528" y="421027"/>
                      </a:lnTo>
                      <a:lnTo>
                        <a:pt x="915623" y="403242"/>
                      </a:lnTo>
                      <a:lnTo>
                        <a:pt x="943272" y="412135"/>
                      </a:lnTo>
                      <a:lnTo>
                        <a:pt x="933514" y="384810"/>
                      </a:lnTo>
                      <a:lnTo>
                        <a:pt x="950591" y="361204"/>
                      </a:lnTo>
                      <a:lnTo>
                        <a:pt x="921316" y="362174"/>
                      </a:lnTo>
                      <a:close/>
                      <a:moveTo>
                        <a:pt x="1025815" y="327996"/>
                      </a:moveTo>
                      <a:lnTo>
                        <a:pt x="1012795" y="353914"/>
                      </a:lnTo>
                      <a:lnTo>
                        <a:pt x="983988" y="358099"/>
                      </a:lnTo>
                      <a:lnTo>
                        <a:pt x="1004820" y="378222"/>
                      </a:lnTo>
                      <a:lnTo>
                        <a:pt x="999938" y="406715"/>
                      </a:lnTo>
                      <a:lnTo>
                        <a:pt x="1025815" y="393193"/>
                      </a:lnTo>
                      <a:lnTo>
                        <a:pt x="1051529" y="406715"/>
                      </a:lnTo>
                      <a:lnTo>
                        <a:pt x="1046646" y="378222"/>
                      </a:lnTo>
                      <a:lnTo>
                        <a:pt x="1067478" y="358099"/>
                      </a:lnTo>
                      <a:lnTo>
                        <a:pt x="1038672" y="353914"/>
                      </a:lnTo>
                      <a:close/>
                      <a:moveTo>
                        <a:pt x="1021692" y="287509"/>
                      </a:moveTo>
                      <a:cubicBezTo>
                        <a:pt x="1423168" y="287509"/>
                        <a:pt x="1748629" y="612970"/>
                        <a:pt x="1748629" y="1014446"/>
                      </a:cubicBezTo>
                      <a:cubicBezTo>
                        <a:pt x="1748629" y="1415922"/>
                        <a:pt x="1423168" y="1741383"/>
                        <a:pt x="1021692" y="1741383"/>
                      </a:cubicBezTo>
                      <a:cubicBezTo>
                        <a:pt x="620216" y="1741383"/>
                        <a:pt x="294755" y="1415922"/>
                        <a:pt x="294755" y="1014446"/>
                      </a:cubicBezTo>
                      <a:cubicBezTo>
                        <a:pt x="294755" y="612970"/>
                        <a:pt x="620216" y="287509"/>
                        <a:pt x="1021692" y="287509"/>
                      </a:cubicBezTo>
                      <a:close/>
                      <a:moveTo>
                        <a:pt x="1021692" y="204488"/>
                      </a:moveTo>
                      <a:cubicBezTo>
                        <a:pt x="574365" y="204488"/>
                        <a:pt x="211734" y="567119"/>
                        <a:pt x="211734" y="1014446"/>
                      </a:cubicBezTo>
                      <a:cubicBezTo>
                        <a:pt x="211734" y="1461773"/>
                        <a:pt x="574365" y="1824404"/>
                        <a:pt x="1021692" y="1824404"/>
                      </a:cubicBezTo>
                      <a:cubicBezTo>
                        <a:pt x="1469019" y="1824404"/>
                        <a:pt x="1831650" y="1461773"/>
                        <a:pt x="1831650" y="1014446"/>
                      </a:cubicBezTo>
                      <a:cubicBezTo>
                        <a:pt x="1831650" y="567119"/>
                        <a:pt x="1469019" y="204488"/>
                        <a:pt x="1021692" y="204488"/>
                      </a:cubicBezTo>
                      <a:close/>
                      <a:moveTo>
                        <a:pt x="1025813" y="0"/>
                      </a:moveTo>
                      <a:cubicBezTo>
                        <a:pt x="1111997" y="0"/>
                        <a:pt x="1184463" y="105835"/>
                        <a:pt x="1266289" y="127810"/>
                      </a:cubicBezTo>
                      <a:cubicBezTo>
                        <a:pt x="1348922" y="149947"/>
                        <a:pt x="1464641" y="94848"/>
                        <a:pt x="1538559" y="137667"/>
                      </a:cubicBezTo>
                      <a:cubicBezTo>
                        <a:pt x="1611992" y="180001"/>
                        <a:pt x="1622160" y="307811"/>
                        <a:pt x="1683167" y="368727"/>
                      </a:cubicBezTo>
                      <a:cubicBezTo>
                        <a:pt x="1744012" y="429804"/>
                        <a:pt x="1871674" y="439984"/>
                        <a:pt x="1913958" y="513503"/>
                      </a:cubicBezTo>
                      <a:cubicBezTo>
                        <a:pt x="1956728" y="587507"/>
                        <a:pt x="1901693" y="703360"/>
                        <a:pt x="1923803" y="786089"/>
                      </a:cubicBezTo>
                      <a:cubicBezTo>
                        <a:pt x="1945753" y="868011"/>
                        <a:pt x="2051465" y="940722"/>
                        <a:pt x="2051465" y="1027006"/>
                      </a:cubicBezTo>
                      <a:cubicBezTo>
                        <a:pt x="2051465" y="1113290"/>
                        <a:pt x="1945753" y="1186001"/>
                        <a:pt x="1923803" y="1267923"/>
                      </a:cubicBezTo>
                      <a:cubicBezTo>
                        <a:pt x="1901693" y="1350490"/>
                        <a:pt x="1956728" y="1466343"/>
                        <a:pt x="1913958" y="1540347"/>
                      </a:cubicBezTo>
                      <a:cubicBezTo>
                        <a:pt x="1871674" y="1613866"/>
                        <a:pt x="1744012" y="1624046"/>
                        <a:pt x="1683167" y="1685123"/>
                      </a:cubicBezTo>
                      <a:cubicBezTo>
                        <a:pt x="1622160" y="1746201"/>
                        <a:pt x="1611992" y="1873849"/>
                        <a:pt x="1538559" y="1916345"/>
                      </a:cubicBezTo>
                      <a:cubicBezTo>
                        <a:pt x="1464641" y="1959002"/>
                        <a:pt x="1348922" y="1903903"/>
                        <a:pt x="1266289" y="1926040"/>
                      </a:cubicBezTo>
                      <a:cubicBezTo>
                        <a:pt x="1184463" y="1948015"/>
                        <a:pt x="1111997" y="2053850"/>
                        <a:pt x="1025813" y="2053850"/>
                      </a:cubicBezTo>
                      <a:cubicBezTo>
                        <a:pt x="939468" y="2053850"/>
                        <a:pt x="867003" y="1948015"/>
                        <a:pt x="785177" y="1926040"/>
                      </a:cubicBezTo>
                      <a:cubicBezTo>
                        <a:pt x="702543" y="1903903"/>
                        <a:pt x="586825" y="1959002"/>
                        <a:pt x="512907" y="1916345"/>
                      </a:cubicBezTo>
                      <a:cubicBezTo>
                        <a:pt x="439473" y="1873849"/>
                        <a:pt x="429305" y="1746201"/>
                        <a:pt x="368299" y="1685123"/>
                      </a:cubicBezTo>
                      <a:cubicBezTo>
                        <a:pt x="307454" y="1624046"/>
                        <a:pt x="179792" y="1613866"/>
                        <a:pt x="137507" y="1540347"/>
                      </a:cubicBezTo>
                      <a:cubicBezTo>
                        <a:pt x="94738" y="1466343"/>
                        <a:pt x="149773" y="1350490"/>
                        <a:pt x="127662" y="1267923"/>
                      </a:cubicBezTo>
                      <a:cubicBezTo>
                        <a:pt x="105713" y="1186001"/>
                        <a:pt x="0" y="1113290"/>
                        <a:pt x="0" y="1027006"/>
                      </a:cubicBezTo>
                      <a:cubicBezTo>
                        <a:pt x="0" y="940722"/>
                        <a:pt x="105713" y="868011"/>
                        <a:pt x="127662" y="786089"/>
                      </a:cubicBezTo>
                      <a:cubicBezTo>
                        <a:pt x="149773" y="703360"/>
                        <a:pt x="94738" y="587507"/>
                        <a:pt x="137507" y="513503"/>
                      </a:cubicBezTo>
                      <a:cubicBezTo>
                        <a:pt x="179792" y="439984"/>
                        <a:pt x="307454" y="429804"/>
                        <a:pt x="368299" y="368727"/>
                      </a:cubicBezTo>
                      <a:cubicBezTo>
                        <a:pt x="429305" y="307811"/>
                        <a:pt x="439473" y="180001"/>
                        <a:pt x="512907" y="137667"/>
                      </a:cubicBezTo>
                      <a:cubicBezTo>
                        <a:pt x="586825" y="94848"/>
                        <a:pt x="702543" y="149947"/>
                        <a:pt x="785177" y="127810"/>
                      </a:cubicBezTo>
                      <a:cubicBezTo>
                        <a:pt x="867003" y="105835"/>
                        <a:pt x="939468" y="0"/>
                        <a:pt x="1025813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352"/>
                <p:cNvSpPr>
                  <a:spLocks/>
                </p:cNvSpPr>
                <p:nvPr/>
              </p:nvSpPr>
              <p:spPr bwMode="auto">
                <a:xfrm>
                  <a:off x="7016283" y="5434671"/>
                  <a:ext cx="865909" cy="1238035"/>
                </a:xfrm>
                <a:custGeom>
                  <a:avLst/>
                  <a:gdLst>
                    <a:gd name="T0" fmla="*/ 3234 w 5365"/>
                    <a:gd name="T1" fmla="*/ 384 h 7662"/>
                    <a:gd name="T2" fmla="*/ 1547 w 5365"/>
                    <a:gd name="T3" fmla="*/ 444 h 7662"/>
                    <a:gd name="T4" fmla="*/ 57 w 5365"/>
                    <a:gd name="T5" fmla="*/ 1235 h 7662"/>
                    <a:gd name="T6" fmla="*/ 0 w 5365"/>
                    <a:gd name="T7" fmla="*/ 1233 h 7662"/>
                    <a:gd name="T8" fmla="*/ 1722 w 5365"/>
                    <a:gd name="T9" fmla="*/ 7662 h 7662"/>
                    <a:gd name="T10" fmla="*/ 3185 w 5365"/>
                    <a:gd name="T11" fmla="*/ 5834 h 7662"/>
                    <a:gd name="T12" fmla="*/ 5365 w 5365"/>
                    <a:gd name="T13" fmla="*/ 6686 h 7662"/>
                    <a:gd name="T14" fmla="*/ 3574 w 5365"/>
                    <a:gd name="T15" fmla="*/ 0 h 7662"/>
                    <a:gd name="T16" fmla="*/ 3234 w 5365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5" h="7662">
                      <a:moveTo>
                        <a:pt x="3234" y="384"/>
                      </a:moveTo>
                      <a:cubicBezTo>
                        <a:pt x="2776" y="649"/>
                        <a:pt x="2059" y="307"/>
                        <a:pt x="1547" y="444"/>
                      </a:cubicBezTo>
                      <a:cubicBezTo>
                        <a:pt x="1040" y="580"/>
                        <a:pt x="591" y="1235"/>
                        <a:pt x="57" y="1235"/>
                      </a:cubicBezTo>
                      <a:cubicBezTo>
                        <a:pt x="37" y="1235"/>
                        <a:pt x="18" y="1235"/>
                        <a:pt x="0" y="1233"/>
                      </a:cubicBezTo>
                      <a:lnTo>
                        <a:pt x="1722" y="7662"/>
                      </a:lnTo>
                      <a:lnTo>
                        <a:pt x="3185" y="5834"/>
                      </a:lnTo>
                      <a:lnTo>
                        <a:pt x="5365" y="6686"/>
                      </a:lnTo>
                      <a:lnTo>
                        <a:pt x="3574" y="0"/>
                      </a:lnTo>
                      <a:cubicBezTo>
                        <a:pt x="3485" y="162"/>
                        <a:pt x="3380" y="300"/>
                        <a:pt x="3234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353"/>
                <p:cNvSpPr>
                  <a:spLocks/>
                </p:cNvSpPr>
                <p:nvPr/>
              </p:nvSpPr>
              <p:spPr bwMode="auto">
                <a:xfrm>
                  <a:off x="6076425" y="5434671"/>
                  <a:ext cx="865909" cy="1238035"/>
                </a:xfrm>
                <a:custGeom>
                  <a:avLst/>
                  <a:gdLst>
                    <a:gd name="T0" fmla="*/ 2131 w 5366"/>
                    <a:gd name="T1" fmla="*/ 384 h 7662"/>
                    <a:gd name="T2" fmla="*/ 3818 w 5366"/>
                    <a:gd name="T3" fmla="*/ 444 h 7662"/>
                    <a:gd name="T4" fmla="*/ 5308 w 5366"/>
                    <a:gd name="T5" fmla="*/ 1235 h 7662"/>
                    <a:gd name="T6" fmla="*/ 5366 w 5366"/>
                    <a:gd name="T7" fmla="*/ 1233 h 7662"/>
                    <a:gd name="T8" fmla="*/ 3643 w 5366"/>
                    <a:gd name="T9" fmla="*/ 7662 h 7662"/>
                    <a:gd name="T10" fmla="*/ 2180 w 5366"/>
                    <a:gd name="T11" fmla="*/ 5834 h 7662"/>
                    <a:gd name="T12" fmla="*/ 0 w 5366"/>
                    <a:gd name="T13" fmla="*/ 6686 h 7662"/>
                    <a:gd name="T14" fmla="*/ 1791 w 5366"/>
                    <a:gd name="T15" fmla="*/ 0 h 7662"/>
                    <a:gd name="T16" fmla="*/ 2131 w 5366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6" h="7662">
                      <a:moveTo>
                        <a:pt x="2131" y="384"/>
                      </a:moveTo>
                      <a:cubicBezTo>
                        <a:pt x="2589" y="649"/>
                        <a:pt x="3306" y="307"/>
                        <a:pt x="3818" y="444"/>
                      </a:cubicBezTo>
                      <a:cubicBezTo>
                        <a:pt x="4325" y="580"/>
                        <a:pt x="4774" y="1235"/>
                        <a:pt x="5308" y="1235"/>
                      </a:cubicBezTo>
                      <a:cubicBezTo>
                        <a:pt x="5328" y="1235"/>
                        <a:pt x="5347" y="1235"/>
                        <a:pt x="5366" y="1233"/>
                      </a:cubicBezTo>
                      <a:lnTo>
                        <a:pt x="3643" y="7662"/>
                      </a:lnTo>
                      <a:lnTo>
                        <a:pt x="2180" y="5834"/>
                      </a:lnTo>
                      <a:lnTo>
                        <a:pt x="0" y="6686"/>
                      </a:lnTo>
                      <a:lnTo>
                        <a:pt x="1791" y="0"/>
                      </a:lnTo>
                      <a:cubicBezTo>
                        <a:pt x="1880" y="162"/>
                        <a:pt x="1985" y="300"/>
                        <a:pt x="2131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241" name="TextBox 240"/>
            <p:cNvSpPr txBox="1"/>
            <p:nvPr/>
          </p:nvSpPr>
          <p:spPr>
            <a:xfrm>
              <a:off x="10930603" y="2261582"/>
              <a:ext cx="49885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$120</a:t>
              </a:r>
              <a:endParaRPr lang="en-US" sz="1200" dirty="0"/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11026873" y="2623343"/>
            <a:ext cx="863547" cy="740074"/>
            <a:chOff x="10565911" y="2219026"/>
            <a:chExt cx="863547" cy="740074"/>
          </a:xfrm>
        </p:grpSpPr>
        <p:grpSp>
          <p:nvGrpSpPr>
            <p:cNvPr id="255" name="Group 254"/>
            <p:cNvGrpSpPr/>
            <p:nvPr/>
          </p:nvGrpSpPr>
          <p:grpSpPr>
            <a:xfrm>
              <a:off x="10565911" y="2219026"/>
              <a:ext cx="476656" cy="740074"/>
              <a:chOff x="7913883" y="3501752"/>
              <a:chExt cx="476656" cy="740074"/>
            </a:xfrm>
          </p:grpSpPr>
          <p:grpSp>
            <p:nvGrpSpPr>
              <p:cNvPr id="257" name="Document2"/>
              <p:cNvGrpSpPr>
                <a:grpSpLocks noChangeAspect="1"/>
              </p:cNvGrpSpPr>
              <p:nvPr>
                <p:custDataLst>
                  <p:tags r:id="rId52"/>
                </p:custDataLst>
              </p:nvPr>
            </p:nvGrpSpPr>
            <p:grpSpPr bwMode="auto">
              <a:xfrm>
                <a:off x="7913883" y="3501752"/>
                <a:ext cx="414049" cy="542925"/>
                <a:chOff x="176" y="141"/>
                <a:chExt cx="151" cy="198"/>
              </a:xfrm>
              <a:solidFill>
                <a:schemeClr val="accent1"/>
              </a:solidFill>
            </p:grpSpPr>
            <p:sp>
              <p:nvSpPr>
                <p:cNvPr id="262" name="Document2"/>
                <p:cNvSpPr>
                  <a:spLocks noEditPoints="1"/>
                </p:cNvSpPr>
                <p:nvPr>
                  <p:custDataLst>
                    <p:tags r:id="rId54"/>
                  </p:custDataLst>
                </p:nvPr>
              </p:nvSpPr>
              <p:spPr bwMode="auto">
                <a:xfrm>
                  <a:off x="176" y="141"/>
                  <a:ext cx="151" cy="198"/>
                </a:xfrm>
                <a:custGeom>
                  <a:avLst/>
                  <a:gdLst>
                    <a:gd name="T0" fmla="*/ 388 w 401"/>
                    <a:gd name="T1" fmla="*/ 525 h 525"/>
                    <a:gd name="T2" fmla="*/ 13 w 401"/>
                    <a:gd name="T3" fmla="*/ 525 h 525"/>
                    <a:gd name="T4" fmla="*/ 0 w 401"/>
                    <a:gd name="T5" fmla="*/ 512 h 525"/>
                    <a:gd name="T6" fmla="*/ 0 w 401"/>
                    <a:gd name="T7" fmla="*/ 12 h 525"/>
                    <a:gd name="T8" fmla="*/ 13 w 401"/>
                    <a:gd name="T9" fmla="*/ 0 h 525"/>
                    <a:gd name="T10" fmla="*/ 388 w 401"/>
                    <a:gd name="T11" fmla="*/ 0 h 525"/>
                    <a:gd name="T12" fmla="*/ 401 w 401"/>
                    <a:gd name="T13" fmla="*/ 12 h 525"/>
                    <a:gd name="T14" fmla="*/ 401 w 401"/>
                    <a:gd name="T15" fmla="*/ 512 h 525"/>
                    <a:gd name="T16" fmla="*/ 388 w 401"/>
                    <a:gd name="T17" fmla="*/ 525 h 525"/>
                    <a:gd name="T18" fmla="*/ 25 w 401"/>
                    <a:gd name="T19" fmla="*/ 500 h 525"/>
                    <a:gd name="T20" fmla="*/ 376 w 401"/>
                    <a:gd name="T21" fmla="*/ 500 h 525"/>
                    <a:gd name="T22" fmla="*/ 376 w 401"/>
                    <a:gd name="T23" fmla="*/ 25 h 525"/>
                    <a:gd name="T24" fmla="*/ 25 w 401"/>
                    <a:gd name="T25" fmla="*/ 25 h 525"/>
                    <a:gd name="T26" fmla="*/ 25 w 401"/>
                    <a:gd name="T27" fmla="*/ 500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1" h="525">
                      <a:moveTo>
                        <a:pt x="388" y="525"/>
                      </a:moveTo>
                      <a:lnTo>
                        <a:pt x="13" y="525"/>
                      </a:lnTo>
                      <a:cubicBezTo>
                        <a:pt x="5" y="525"/>
                        <a:pt x="0" y="520"/>
                        <a:pt x="0" y="512"/>
                      </a:cubicBezTo>
                      <a:lnTo>
                        <a:pt x="0" y="12"/>
                      </a:lnTo>
                      <a:cubicBezTo>
                        <a:pt x="0" y="5"/>
                        <a:pt x="5" y="0"/>
                        <a:pt x="13" y="0"/>
                      </a:cubicBezTo>
                      <a:lnTo>
                        <a:pt x="388" y="0"/>
                      </a:lnTo>
                      <a:cubicBezTo>
                        <a:pt x="395" y="0"/>
                        <a:pt x="401" y="5"/>
                        <a:pt x="401" y="12"/>
                      </a:cubicBezTo>
                      <a:lnTo>
                        <a:pt x="401" y="512"/>
                      </a:lnTo>
                      <a:cubicBezTo>
                        <a:pt x="401" y="520"/>
                        <a:pt x="394" y="525"/>
                        <a:pt x="388" y="525"/>
                      </a:cubicBezTo>
                      <a:close/>
                      <a:moveTo>
                        <a:pt x="25" y="500"/>
                      </a:moveTo>
                      <a:lnTo>
                        <a:pt x="376" y="500"/>
                      </a:lnTo>
                      <a:lnTo>
                        <a:pt x="376" y="25"/>
                      </a:lnTo>
                      <a:lnTo>
                        <a:pt x="25" y="25"/>
                      </a:lnTo>
                      <a:lnTo>
                        <a:pt x="25" y="50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Document2"/>
                <p:cNvSpPr>
                  <a:spLocks noChangeArrowheads="1"/>
                </p:cNvSpPr>
                <p:nvPr>
                  <p:custDataLst>
                    <p:tags r:id="rId55"/>
                  </p:custDataLst>
                </p:nvPr>
              </p:nvSpPr>
              <p:spPr bwMode="auto">
                <a:xfrm>
                  <a:off x="205" y="239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Document2"/>
                <p:cNvSpPr>
                  <a:spLocks noChangeArrowheads="1"/>
                </p:cNvSpPr>
                <p:nvPr>
                  <p:custDataLst>
                    <p:tags r:id="rId56"/>
                  </p:custDataLst>
                </p:nvPr>
              </p:nvSpPr>
              <p:spPr bwMode="auto">
                <a:xfrm>
                  <a:off x="205" y="267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Document2"/>
                <p:cNvSpPr>
                  <a:spLocks noChangeArrowheads="1"/>
                </p:cNvSpPr>
                <p:nvPr>
                  <p:custDataLst>
                    <p:tags r:id="rId57"/>
                  </p:custDataLst>
                </p:nvPr>
              </p:nvSpPr>
              <p:spPr bwMode="auto">
                <a:xfrm>
                  <a:off x="205" y="295"/>
                  <a:ext cx="94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Document2"/>
                <p:cNvSpPr>
                  <a:spLocks noChangeArrowheads="1"/>
                </p:cNvSpPr>
                <p:nvPr>
                  <p:custDataLst>
                    <p:tags r:id="rId58"/>
                  </p:custDataLst>
                </p:nvPr>
              </p:nvSpPr>
              <p:spPr bwMode="auto">
                <a:xfrm>
                  <a:off x="252" y="182"/>
                  <a:ext cx="47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Document2"/>
                <p:cNvSpPr>
                  <a:spLocks noChangeArrowheads="1"/>
                </p:cNvSpPr>
                <p:nvPr>
                  <p:custDataLst>
                    <p:tags r:id="rId59"/>
                  </p:custDataLst>
                </p:nvPr>
              </p:nvSpPr>
              <p:spPr bwMode="auto">
                <a:xfrm>
                  <a:off x="252" y="211"/>
                  <a:ext cx="47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Document2"/>
                <p:cNvSpPr>
                  <a:spLocks/>
                </p:cNvSpPr>
                <p:nvPr>
                  <p:custDataLst>
                    <p:tags r:id="rId60"/>
                  </p:custDataLst>
                </p:nvPr>
              </p:nvSpPr>
              <p:spPr bwMode="auto">
                <a:xfrm>
                  <a:off x="206" y="182"/>
                  <a:ext cx="36" cy="37"/>
                </a:xfrm>
                <a:custGeom>
                  <a:avLst/>
                  <a:gdLst>
                    <a:gd name="T0" fmla="*/ 49 w 98"/>
                    <a:gd name="T1" fmla="*/ 97 h 97"/>
                    <a:gd name="T2" fmla="*/ 49 w 98"/>
                    <a:gd name="T3" fmla="*/ 97 h 97"/>
                    <a:gd name="T4" fmla="*/ 0 w 98"/>
                    <a:gd name="T5" fmla="*/ 48 h 97"/>
                    <a:gd name="T6" fmla="*/ 0 w 98"/>
                    <a:gd name="T7" fmla="*/ 48 h 97"/>
                    <a:gd name="T8" fmla="*/ 49 w 98"/>
                    <a:gd name="T9" fmla="*/ 0 h 97"/>
                    <a:gd name="T10" fmla="*/ 49 w 98"/>
                    <a:gd name="T11" fmla="*/ 0 h 97"/>
                    <a:gd name="T12" fmla="*/ 98 w 98"/>
                    <a:gd name="T13" fmla="*/ 48 h 97"/>
                    <a:gd name="T14" fmla="*/ 98 w 98"/>
                    <a:gd name="T15" fmla="*/ 48 h 97"/>
                    <a:gd name="T16" fmla="*/ 49 w 98"/>
                    <a:gd name="T17" fmla="*/ 97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8" h="97">
                      <a:moveTo>
                        <a:pt x="49" y="97"/>
                      </a:moveTo>
                      <a:lnTo>
                        <a:pt x="49" y="97"/>
                      </a:lnTo>
                      <a:cubicBezTo>
                        <a:pt x="22" y="97"/>
                        <a:pt x="0" y="75"/>
                        <a:pt x="0" y="48"/>
                      </a:cubicBezTo>
                      <a:lnTo>
                        <a:pt x="0" y="48"/>
                      </a:lnTo>
                      <a:cubicBezTo>
                        <a:pt x="0" y="21"/>
                        <a:pt x="23" y="0"/>
                        <a:pt x="49" y="0"/>
                      </a:cubicBezTo>
                      <a:lnTo>
                        <a:pt x="49" y="0"/>
                      </a:lnTo>
                      <a:cubicBezTo>
                        <a:pt x="77" y="0"/>
                        <a:pt x="98" y="22"/>
                        <a:pt x="98" y="48"/>
                      </a:cubicBezTo>
                      <a:lnTo>
                        <a:pt x="98" y="48"/>
                      </a:lnTo>
                      <a:cubicBezTo>
                        <a:pt x="98" y="76"/>
                        <a:pt x="77" y="97"/>
                        <a:pt x="49" y="97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258" name="Award"/>
              <p:cNvGrpSpPr>
                <a:grpSpLocks noChangeAspect="1"/>
              </p:cNvGrpSpPr>
              <p:nvPr>
                <p:custDataLst>
                  <p:tags r:id="rId53"/>
                </p:custDataLst>
              </p:nvPr>
            </p:nvGrpSpPr>
            <p:grpSpPr>
              <a:xfrm>
                <a:off x="8124621" y="3822850"/>
                <a:ext cx="265918" cy="418976"/>
                <a:chOff x="5941649" y="3440456"/>
                <a:chExt cx="2051465" cy="3232250"/>
              </a:xfrm>
              <a:solidFill>
                <a:schemeClr val="accent1"/>
              </a:solidFill>
            </p:grpSpPr>
            <p:sp>
              <p:nvSpPr>
                <p:cNvPr id="259" name="Freeform: Shape 683"/>
                <p:cNvSpPr>
                  <a:spLocks/>
                </p:cNvSpPr>
                <p:nvPr/>
              </p:nvSpPr>
              <p:spPr bwMode="auto">
                <a:xfrm>
                  <a:off x="5941649" y="3440456"/>
                  <a:ext cx="2051465" cy="2053850"/>
                </a:xfrm>
                <a:custGeom>
                  <a:avLst/>
                  <a:gdLst>
                    <a:gd name="connsiteX0" fmla="*/ 999938 w 2051465"/>
                    <a:gd name="connsiteY0" fmla="*/ 1647136 h 2053850"/>
                    <a:gd name="connsiteX1" fmla="*/ 1004820 w 2051465"/>
                    <a:gd name="connsiteY1" fmla="*/ 1675527 h 2053850"/>
                    <a:gd name="connsiteX2" fmla="*/ 983988 w 2051465"/>
                    <a:gd name="connsiteY2" fmla="*/ 1695690 h 2053850"/>
                    <a:gd name="connsiteX3" fmla="*/ 1012795 w 2051465"/>
                    <a:gd name="connsiteY3" fmla="*/ 1699884 h 2053850"/>
                    <a:gd name="connsiteX4" fmla="*/ 1025815 w 2051465"/>
                    <a:gd name="connsiteY4" fmla="*/ 1725855 h 2053850"/>
                    <a:gd name="connsiteX5" fmla="*/ 1038672 w 2051465"/>
                    <a:gd name="connsiteY5" fmla="*/ 1699884 h 2053850"/>
                    <a:gd name="connsiteX6" fmla="*/ 1067478 w 2051465"/>
                    <a:gd name="connsiteY6" fmla="*/ 1695690 h 2053850"/>
                    <a:gd name="connsiteX7" fmla="*/ 1046646 w 2051465"/>
                    <a:gd name="connsiteY7" fmla="*/ 1675527 h 2053850"/>
                    <a:gd name="connsiteX8" fmla="*/ 1051529 w 2051465"/>
                    <a:gd name="connsiteY8" fmla="*/ 1647136 h 2053850"/>
                    <a:gd name="connsiteX9" fmla="*/ 1025815 w 2051465"/>
                    <a:gd name="connsiteY9" fmla="*/ 1660525 h 2053850"/>
                    <a:gd name="connsiteX10" fmla="*/ 1158095 w 2051465"/>
                    <a:gd name="connsiteY10" fmla="*/ 1634016 h 2053850"/>
                    <a:gd name="connsiteX11" fmla="*/ 1135334 w 2051465"/>
                    <a:gd name="connsiteY11" fmla="*/ 1651418 h 2053850"/>
                    <a:gd name="connsiteX12" fmla="*/ 1108086 w 2051465"/>
                    <a:gd name="connsiteY12" fmla="*/ 1642797 h 2053850"/>
                    <a:gd name="connsiteX13" fmla="*/ 1117703 w 2051465"/>
                    <a:gd name="connsiteY13" fmla="*/ 1669779 h 2053850"/>
                    <a:gd name="connsiteX14" fmla="*/ 1100873 w 2051465"/>
                    <a:gd name="connsiteY14" fmla="*/ 1692928 h 2053850"/>
                    <a:gd name="connsiteX15" fmla="*/ 1129724 w 2051465"/>
                    <a:gd name="connsiteY15" fmla="*/ 1692130 h 2053850"/>
                    <a:gd name="connsiteX16" fmla="*/ 1146715 w 2051465"/>
                    <a:gd name="connsiteY16" fmla="*/ 1715120 h 2053850"/>
                    <a:gd name="connsiteX17" fmla="*/ 1154729 w 2051465"/>
                    <a:gd name="connsiteY17" fmla="*/ 1687660 h 2053850"/>
                    <a:gd name="connsiteX18" fmla="*/ 1181977 w 2051465"/>
                    <a:gd name="connsiteY18" fmla="*/ 1678719 h 2053850"/>
                    <a:gd name="connsiteX19" fmla="*/ 1158255 w 2051465"/>
                    <a:gd name="connsiteY19" fmla="*/ 1662594 h 2053850"/>
                    <a:gd name="connsiteX20" fmla="*/ 892528 w 2051465"/>
                    <a:gd name="connsiteY20" fmla="*/ 1634016 h 2053850"/>
                    <a:gd name="connsiteX21" fmla="*/ 892365 w 2051465"/>
                    <a:gd name="connsiteY21" fmla="*/ 1662594 h 2053850"/>
                    <a:gd name="connsiteX22" fmla="*/ 868294 w 2051465"/>
                    <a:gd name="connsiteY22" fmla="*/ 1678719 h 2053850"/>
                    <a:gd name="connsiteX23" fmla="*/ 895943 w 2051465"/>
                    <a:gd name="connsiteY23" fmla="*/ 1687660 h 2053850"/>
                    <a:gd name="connsiteX24" fmla="*/ 904076 w 2051465"/>
                    <a:gd name="connsiteY24" fmla="*/ 1715120 h 2053850"/>
                    <a:gd name="connsiteX25" fmla="*/ 921316 w 2051465"/>
                    <a:gd name="connsiteY25" fmla="*/ 1692130 h 2053850"/>
                    <a:gd name="connsiteX26" fmla="*/ 950591 w 2051465"/>
                    <a:gd name="connsiteY26" fmla="*/ 1692928 h 2053850"/>
                    <a:gd name="connsiteX27" fmla="*/ 933514 w 2051465"/>
                    <a:gd name="connsiteY27" fmla="*/ 1669779 h 2053850"/>
                    <a:gd name="connsiteX28" fmla="*/ 943272 w 2051465"/>
                    <a:gd name="connsiteY28" fmla="*/ 1642797 h 2053850"/>
                    <a:gd name="connsiteX29" fmla="*/ 915623 w 2051465"/>
                    <a:gd name="connsiteY29" fmla="*/ 1651418 h 2053850"/>
                    <a:gd name="connsiteX30" fmla="*/ 1261194 w 2051465"/>
                    <a:gd name="connsiteY30" fmla="*/ 1600620 h 2053850"/>
                    <a:gd name="connsiteX31" fmla="*/ 1241782 w 2051465"/>
                    <a:gd name="connsiteY31" fmla="*/ 1622103 h 2053850"/>
                    <a:gd name="connsiteX32" fmla="*/ 1212988 w 2051465"/>
                    <a:gd name="connsiteY32" fmla="*/ 1618197 h 2053850"/>
                    <a:gd name="connsiteX33" fmla="*/ 1227385 w 2051465"/>
                    <a:gd name="connsiteY33" fmla="*/ 1643586 h 2053850"/>
                    <a:gd name="connsiteX34" fmla="*/ 1214768 w 2051465"/>
                    <a:gd name="connsiteY34" fmla="*/ 1669951 h 2053850"/>
                    <a:gd name="connsiteX35" fmla="*/ 1243238 w 2051465"/>
                    <a:gd name="connsiteY35" fmla="*/ 1663929 h 2053850"/>
                    <a:gd name="connsiteX36" fmla="*/ 1264106 w 2051465"/>
                    <a:gd name="connsiteY36" fmla="*/ 1684110 h 2053850"/>
                    <a:gd name="connsiteX37" fmla="*/ 1267341 w 2051465"/>
                    <a:gd name="connsiteY37" fmla="*/ 1655141 h 2053850"/>
                    <a:gd name="connsiteX38" fmla="*/ 1292900 w 2051465"/>
                    <a:gd name="connsiteY38" fmla="*/ 1641307 h 2053850"/>
                    <a:gd name="connsiteX39" fmla="*/ 1266371 w 2051465"/>
                    <a:gd name="connsiteY39" fmla="*/ 1629264 h 2053850"/>
                    <a:gd name="connsiteX40" fmla="*/ 789798 w 2051465"/>
                    <a:gd name="connsiteY40" fmla="*/ 1600620 h 2053850"/>
                    <a:gd name="connsiteX41" fmla="*/ 784699 w 2051465"/>
                    <a:gd name="connsiteY41" fmla="*/ 1629264 h 2053850"/>
                    <a:gd name="connsiteX42" fmla="*/ 758565 w 2051465"/>
                    <a:gd name="connsiteY42" fmla="*/ 1641307 h 2053850"/>
                    <a:gd name="connsiteX43" fmla="*/ 783743 w 2051465"/>
                    <a:gd name="connsiteY43" fmla="*/ 1655141 h 2053850"/>
                    <a:gd name="connsiteX44" fmla="*/ 786930 w 2051465"/>
                    <a:gd name="connsiteY44" fmla="*/ 1684110 h 2053850"/>
                    <a:gd name="connsiteX45" fmla="*/ 807486 w 2051465"/>
                    <a:gd name="connsiteY45" fmla="*/ 1663929 h 2053850"/>
                    <a:gd name="connsiteX46" fmla="*/ 835531 w 2051465"/>
                    <a:gd name="connsiteY46" fmla="*/ 1669951 h 2053850"/>
                    <a:gd name="connsiteX47" fmla="*/ 823102 w 2051465"/>
                    <a:gd name="connsiteY47" fmla="*/ 1643586 h 2053850"/>
                    <a:gd name="connsiteX48" fmla="*/ 837284 w 2051465"/>
                    <a:gd name="connsiteY48" fmla="*/ 1618197 h 2053850"/>
                    <a:gd name="connsiteX49" fmla="*/ 808920 w 2051465"/>
                    <a:gd name="connsiteY49" fmla="*/ 1622103 h 2053850"/>
                    <a:gd name="connsiteX50" fmla="*/ 1357465 w 2051465"/>
                    <a:gd name="connsiteY50" fmla="*/ 1551719 h 2053850"/>
                    <a:gd name="connsiteX51" fmla="*/ 1342004 w 2051465"/>
                    <a:gd name="connsiteY51" fmla="*/ 1576277 h 2053850"/>
                    <a:gd name="connsiteX52" fmla="*/ 1313176 w 2051465"/>
                    <a:gd name="connsiteY52" fmla="*/ 1577408 h 2053850"/>
                    <a:gd name="connsiteX53" fmla="*/ 1331697 w 2051465"/>
                    <a:gd name="connsiteY53" fmla="*/ 1599703 h 2053850"/>
                    <a:gd name="connsiteX54" fmla="*/ 1323806 w 2051465"/>
                    <a:gd name="connsiteY54" fmla="*/ 1627492 h 2053850"/>
                    <a:gd name="connsiteX55" fmla="*/ 1350701 w 2051465"/>
                    <a:gd name="connsiteY55" fmla="*/ 1616829 h 2053850"/>
                    <a:gd name="connsiteX56" fmla="*/ 1374698 w 2051465"/>
                    <a:gd name="connsiteY56" fmla="*/ 1632823 h 2053850"/>
                    <a:gd name="connsiteX57" fmla="*/ 1372765 w 2051465"/>
                    <a:gd name="connsiteY57" fmla="*/ 1603904 h 2053850"/>
                    <a:gd name="connsiteX58" fmla="*/ 1395473 w 2051465"/>
                    <a:gd name="connsiteY58" fmla="*/ 1585970 h 2053850"/>
                    <a:gd name="connsiteX59" fmla="*/ 1367450 w 2051465"/>
                    <a:gd name="connsiteY59" fmla="*/ 1578862 h 2053850"/>
                    <a:gd name="connsiteX60" fmla="*/ 694000 w 2051465"/>
                    <a:gd name="connsiteY60" fmla="*/ 1551719 h 2053850"/>
                    <a:gd name="connsiteX61" fmla="*/ 684015 w 2051465"/>
                    <a:gd name="connsiteY61" fmla="*/ 1578862 h 2053850"/>
                    <a:gd name="connsiteX62" fmla="*/ 655992 w 2051465"/>
                    <a:gd name="connsiteY62" fmla="*/ 1585970 h 2053850"/>
                    <a:gd name="connsiteX63" fmla="*/ 678700 w 2051465"/>
                    <a:gd name="connsiteY63" fmla="*/ 1603904 h 2053850"/>
                    <a:gd name="connsiteX64" fmla="*/ 676768 w 2051465"/>
                    <a:gd name="connsiteY64" fmla="*/ 1632823 h 2053850"/>
                    <a:gd name="connsiteX65" fmla="*/ 700764 w 2051465"/>
                    <a:gd name="connsiteY65" fmla="*/ 1616829 h 2053850"/>
                    <a:gd name="connsiteX66" fmla="*/ 727660 w 2051465"/>
                    <a:gd name="connsiteY66" fmla="*/ 1627492 h 2053850"/>
                    <a:gd name="connsiteX67" fmla="*/ 719768 w 2051465"/>
                    <a:gd name="connsiteY67" fmla="*/ 1599703 h 2053850"/>
                    <a:gd name="connsiteX68" fmla="*/ 738289 w 2051465"/>
                    <a:gd name="connsiteY68" fmla="*/ 1577408 h 2053850"/>
                    <a:gd name="connsiteX69" fmla="*/ 709461 w 2051465"/>
                    <a:gd name="connsiteY69" fmla="*/ 1576277 h 2053850"/>
                    <a:gd name="connsiteX70" fmla="*/ 1442881 w 2051465"/>
                    <a:gd name="connsiteY70" fmla="*/ 1486119 h 2053850"/>
                    <a:gd name="connsiteX71" fmla="*/ 1431951 w 2051465"/>
                    <a:gd name="connsiteY71" fmla="*/ 1512757 h 2053850"/>
                    <a:gd name="connsiteX72" fmla="*/ 1403822 w 2051465"/>
                    <a:gd name="connsiteY72" fmla="*/ 1518854 h 2053850"/>
                    <a:gd name="connsiteX73" fmla="*/ 1425843 w 2051465"/>
                    <a:gd name="connsiteY73" fmla="*/ 1537468 h 2053850"/>
                    <a:gd name="connsiteX74" fmla="*/ 1422950 w 2051465"/>
                    <a:gd name="connsiteY74" fmla="*/ 1566031 h 2053850"/>
                    <a:gd name="connsiteX75" fmla="*/ 1447382 w 2051465"/>
                    <a:gd name="connsiteY75" fmla="*/ 1550947 h 2053850"/>
                    <a:gd name="connsiteX76" fmla="*/ 1473743 w 2051465"/>
                    <a:gd name="connsiteY76" fmla="*/ 1562501 h 2053850"/>
                    <a:gd name="connsiteX77" fmla="*/ 1466992 w 2051465"/>
                    <a:gd name="connsiteY77" fmla="*/ 1534580 h 2053850"/>
                    <a:gd name="connsiteX78" fmla="*/ 1486119 w 2051465"/>
                    <a:gd name="connsiteY78" fmla="*/ 1513078 h 2053850"/>
                    <a:gd name="connsiteX79" fmla="*/ 1457347 w 2051465"/>
                    <a:gd name="connsiteY79" fmla="*/ 1510831 h 2053850"/>
                    <a:gd name="connsiteX80" fmla="*/ 607391 w 2051465"/>
                    <a:gd name="connsiteY80" fmla="*/ 1486119 h 2053850"/>
                    <a:gd name="connsiteX81" fmla="*/ 592925 w 2051465"/>
                    <a:gd name="connsiteY81" fmla="*/ 1510831 h 2053850"/>
                    <a:gd name="connsiteX82" fmla="*/ 564153 w 2051465"/>
                    <a:gd name="connsiteY82" fmla="*/ 1513078 h 2053850"/>
                    <a:gd name="connsiteX83" fmla="*/ 583281 w 2051465"/>
                    <a:gd name="connsiteY83" fmla="*/ 1534580 h 2053850"/>
                    <a:gd name="connsiteX84" fmla="*/ 576530 w 2051465"/>
                    <a:gd name="connsiteY84" fmla="*/ 1562501 h 2053850"/>
                    <a:gd name="connsiteX85" fmla="*/ 602891 w 2051465"/>
                    <a:gd name="connsiteY85" fmla="*/ 1550947 h 2053850"/>
                    <a:gd name="connsiteX86" fmla="*/ 627323 w 2051465"/>
                    <a:gd name="connsiteY86" fmla="*/ 1566031 h 2053850"/>
                    <a:gd name="connsiteX87" fmla="*/ 624429 w 2051465"/>
                    <a:gd name="connsiteY87" fmla="*/ 1537468 h 2053850"/>
                    <a:gd name="connsiteX88" fmla="*/ 646450 w 2051465"/>
                    <a:gd name="connsiteY88" fmla="*/ 1518854 h 2053850"/>
                    <a:gd name="connsiteX89" fmla="*/ 618321 w 2051465"/>
                    <a:gd name="connsiteY89" fmla="*/ 1512757 h 2053850"/>
                    <a:gd name="connsiteX90" fmla="*/ 1516404 w 2051465"/>
                    <a:gd name="connsiteY90" fmla="*/ 1406208 h 2053850"/>
                    <a:gd name="connsiteX91" fmla="*/ 1510318 w 2051465"/>
                    <a:gd name="connsiteY91" fmla="*/ 1434337 h 2053850"/>
                    <a:gd name="connsiteX92" fmla="*/ 1483734 w 2051465"/>
                    <a:gd name="connsiteY92" fmla="*/ 1445267 h 2053850"/>
                    <a:gd name="connsiteX93" fmla="*/ 1508557 w 2051465"/>
                    <a:gd name="connsiteY93" fmla="*/ 1459894 h 2053850"/>
                    <a:gd name="connsiteX94" fmla="*/ 1510799 w 2051465"/>
                    <a:gd name="connsiteY94" fmla="*/ 1488505 h 2053850"/>
                    <a:gd name="connsiteX95" fmla="*/ 1532098 w 2051465"/>
                    <a:gd name="connsiteY95" fmla="*/ 1469378 h 2053850"/>
                    <a:gd name="connsiteX96" fmla="*/ 1560123 w 2051465"/>
                    <a:gd name="connsiteY96" fmla="*/ 1476289 h 2053850"/>
                    <a:gd name="connsiteX97" fmla="*/ 1548593 w 2051465"/>
                    <a:gd name="connsiteY97" fmla="*/ 1449768 h 2053850"/>
                    <a:gd name="connsiteX98" fmla="*/ 1563646 w 2051465"/>
                    <a:gd name="connsiteY98" fmla="*/ 1425336 h 2053850"/>
                    <a:gd name="connsiteX99" fmla="*/ 1534980 w 2051465"/>
                    <a:gd name="connsiteY99" fmla="*/ 1428229 h 2053850"/>
                    <a:gd name="connsiteX100" fmla="*/ 534575 w 2051465"/>
                    <a:gd name="connsiteY100" fmla="*/ 1406208 h 2053850"/>
                    <a:gd name="connsiteX101" fmla="*/ 515721 w 2051465"/>
                    <a:gd name="connsiteY101" fmla="*/ 1428229 h 2053850"/>
                    <a:gd name="connsiteX102" fmla="*/ 486627 w 2051465"/>
                    <a:gd name="connsiteY102" fmla="*/ 1425336 h 2053850"/>
                    <a:gd name="connsiteX103" fmla="*/ 502068 w 2051465"/>
                    <a:gd name="connsiteY103" fmla="*/ 1449768 h 2053850"/>
                    <a:gd name="connsiteX104" fmla="*/ 490203 w 2051465"/>
                    <a:gd name="connsiteY104" fmla="*/ 1476289 h 2053850"/>
                    <a:gd name="connsiteX105" fmla="*/ 518646 w 2051465"/>
                    <a:gd name="connsiteY105" fmla="*/ 1469378 h 2053850"/>
                    <a:gd name="connsiteX106" fmla="*/ 540263 w 2051465"/>
                    <a:gd name="connsiteY106" fmla="*/ 1488505 h 2053850"/>
                    <a:gd name="connsiteX107" fmla="*/ 542539 w 2051465"/>
                    <a:gd name="connsiteY107" fmla="*/ 1459894 h 2053850"/>
                    <a:gd name="connsiteX108" fmla="*/ 567731 w 2051465"/>
                    <a:gd name="connsiteY108" fmla="*/ 1445267 h 2053850"/>
                    <a:gd name="connsiteX109" fmla="*/ 540751 w 2051465"/>
                    <a:gd name="connsiteY109" fmla="*/ 1434337 h 2053850"/>
                    <a:gd name="connsiteX110" fmla="*/ 1575022 w 2051465"/>
                    <a:gd name="connsiteY110" fmla="*/ 1315562 h 2053850"/>
                    <a:gd name="connsiteX111" fmla="*/ 1573729 w 2051465"/>
                    <a:gd name="connsiteY111" fmla="*/ 1344390 h 2053850"/>
                    <a:gd name="connsiteX112" fmla="*/ 1549333 w 2051465"/>
                    <a:gd name="connsiteY112" fmla="*/ 1359851 h 2053850"/>
                    <a:gd name="connsiteX113" fmla="*/ 1576476 w 2051465"/>
                    <a:gd name="connsiteY113" fmla="*/ 1369836 h 2053850"/>
                    <a:gd name="connsiteX114" fmla="*/ 1583584 w 2051465"/>
                    <a:gd name="connsiteY114" fmla="*/ 1397859 h 2053850"/>
                    <a:gd name="connsiteX115" fmla="*/ 1601518 w 2051465"/>
                    <a:gd name="connsiteY115" fmla="*/ 1375151 h 2053850"/>
                    <a:gd name="connsiteX116" fmla="*/ 1630437 w 2051465"/>
                    <a:gd name="connsiteY116" fmla="*/ 1377084 h 2053850"/>
                    <a:gd name="connsiteX117" fmla="*/ 1614443 w 2051465"/>
                    <a:gd name="connsiteY117" fmla="*/ 1353087 h 2053850"/>
                    <a:gd name="connsiteX118" fmla="*/ 1625106 w 2051465"/>
                    <a:gd name="connsiteY118" fmla="*/ 1326192 h 2053850"/>
                    <a:gd name="connsiteX119" fmla="*/ 1597156 w 2051465"/>
                    <a:gd name="connsiteY119" fmla="*/ 1334083 h 2053850"/>
                    <a:gd name="connsiteX120" fmla="*/ 476443 w 2051465"/>
                    <a:gd name="connsiteY120" fmla="*/ 1315562 h 2053850"/>
                    <a:gd name="connsiteX121" fmla="*/ 454309 w 2051465"/>
                    <a:gd name="connsiteY121" fmla="*/ 1334083 h 2053850"/>
                    <a:gd name="connsiteX122" fmla="*/ 426359 w 2051465"/>
                    <a:gd name="connsiteY122" fmla="*/ 1326192 h 2053850"/>
                    <a:gd name="connsiteX123" fmla="*/ 437022 w 2051465"/>
                    <a:gd name="connsiteY123" fmla="*/ 1353087 h 2053850"/>
                    <a:gd name="connsiteX124" fmla="*/ 421027 w 2051465"/>
                    <a:gd name="connsiteY124" fmla="*/ 1377084 h 2053850"/>
                    <a:gd name="connsiteX125" fmla="*/ 449947 w 2051465"/>
                    <a:gd name="connsiteY125" fmla="*/ 1375151 h 2053850"/>
                    <a:gd name="connsiteX126" fmla="*/ 467880 w 2051465"/>
                    <a:gd name="connsiteY126" fmla="*/ 1397859 h 2053850"/>
                    <a:gd name="connsiteX127" fmla="*/ 474989 w 2051465"/>
                    <a:gd name="connsiteY127" fmla="*/ 1369836 h 2053850"/>
                    <a:gd name="connsiteX128" fmla="*/ 502131 w 2051465"/>
                    <a:gd name="connsiteY128" fmla="*/ 1359851 h 2053850"/>
                    <a:gd name="connsiteX129" fmla="*/ 477735 w 2051465"/>
                    <a:gd name="connsiteY129" fmla="*/ 1344390 h 2053850"/>
                    <a:gd name="connsiteX130" fmla="*/ 1615811 w 2051465"/>
                    <a:gd name="connsiteY130" fmla="*/ 1215374 h 2053850"/>
                    <a:gd name="connsiteX131" fmla="*/ 1619717 w 2051465"/>
                    <a:gd name="connsiteY131" fmla="*/ 1244168 h 2053850"/>
                    <a:gd name="connsiteX132" fmla="*/ 1598234 w 2051465"/>
                    <a:gd name="connsiteY132" fmla="*/ 1263580 h 2053850"/>
                    <a:gd name="connsiteX133" fmla="*/ 1626878 w 2051465"/>
                    <a:gd name="connsiteY133" fmla="*/ 1268757 h 2053850"/>
                    <a:gd name="connsiteX134" fmla="*/ 1638921 w 2051465"/>
                    <a:gd name="connsiteY134" fmla="*/ 1295286 h 2053850"/>
                    <a:gd name="connsiteX135" fmla="*/ 1652755 w 2051465"/>
                    <a:gd name="connsiteY135" fmla="*/ 1269727 h 2053850"/>
                    <a:gd name="connsiteX136" fmla="*/ 1681724 w 2051465"/>
                    <a:gd name="connsiteY136" fmla="*/ 1266492 h 2053850"/>
                    <a:gd name="connsiteX137" fmla="*/ 1661543 w 2051465"/>
                    <a:gd name="connsiteY137" fmla="*/ 1245624 h 2053850"/>
                    <a:gd name="connsiteX138" fmla="*/ 1667402 w 2051465"/>
                    <a:gd name="connsiteY138" fmla="*/ 1217154 h 2053850"/>
                    <a:gd name="connsiteX139" fmla="*/ 1641200 w 2051465"/>
                    <a:gd name="connsiteY139" fmla="*/ 1229771 h 2053850"/>
                    <a:gd name="connsiteX140" fmla="*/ 434713 w 2051465"/>
                    <a:gd name="connsiteY140" fmla="*/ 1215374 h 2053850"/>
                    <a:gd name="connsiteX141" fmla="*/ 409687 w 2051465"/>
                    <a:gd name="connsiteY141" fmla="*/ 1229771 h 2053850"/>
                    <a:gd name="connsiteX142" fmla="*/ 383858 w 2051465"/>
                    <a:gd name="connsiteY142" fmla="*/ 1217154 h 2053850"/>
                    <a:gd name="connsiteX143" fmla="*/ 389634 w 2051465"/>
                    <a:gd name="connsiteY143" fmla="*/ 1245624 h 2053850"/>
                    <a:gd name="connsiteX144" fmla="*/ 369741 w 2051465"/>
                    <a:gd name="connsiteY144" fmla="*/ 1266492 h 2053850"/>
                    <a:gd name="connsiteX145" fmla="*/ 398297 w 2051465"/>
                    <a:gd name="connsiteY145" fmla="*/ 1269727 h 2053850"/>
                    <a:gd name="connsiteX146" fmla="*/ 411932 w 2051465"/>
                    <a:gd name="connsiteY146" fmla="*/ 1295286 h 2053850"/>
                    <a:gd name="connsiteX147" fmla="*/ 423804 w 2051465"/>
                    <a:gd name="connsiteY147" fmla="*/ 1268757 h 2053850"/>
                    <a:gd name="connsiteX148" fmla="*/ 452038 w 2051465"/>
                    <a:gd name="connsiteY148" fmla="*/ 1263580 h 2053850"/>
                    <a:gd name="connsiteX149" fmla="*/ 430862 w 2051465"/>
                    <a:gd name="connsiteY149" fmla="*/ 1244168 h 2053850"/>
                    <a:gd name="connsiteX150" fmla="*/ 1690261 w 2051465"/>
                    <a:gd name="connsiteY150" fmla="*/ 1102066 h 2053850"/>
                    <a:gd name="connsiteX151" fmla="*/ 1666655 w 2051465"/>
                    <a:gd name="connsiteY151" fmla="*/ 1119015 h 2053850"/>
                    <a:gd name="connsiteX152" fmla="*/ 1639493 w 2051465"/>
                    <a:gd name="connsiteY152" fmla="*/ 1109237 h 2053850"/>
                    <a:gd name="connsiteX153" fmla="*/ 1648223 w 2051465"/>
                    <a:gd name="connsiteY153" fmla="*/ 1137104 h 2053850"/>
                    <a:gd name="connsiteX154" fmla="*/ 1630438 w 2051465"/>
                    <a:gd name="connsiteY154" fmla="*/ 1160082 h 2053850"/>
                    <a:gd name="connsiteX155" fmla="*/ 1659541 w 2051465"/>
                    <a:gd name="connsiteY155" fmla="*/ 1160245 h 2053850"/>
                    <a:gd name="connsiteX156" fmla="*/ 1675871 w 2051465"/>
                    <a:gd name="connsiteY156" fmla="*/ 1184363 h 2053850"/>
                    <a:gd name="connsiteX157" fmla="*/ 1684926 w 2051465"/>
                    <a:gd name="connsiteY157" fmla="*/ 1156659 h 2053850"/>
                    <a:gd name="connsiteX158" fmla="*/ 1712735 w 2051465"/>
                    <a:gd name="connsiteY158" fmla="*/ 1148511 h 2053850"/>
                    <a:gd name="connsiteX159" fmla="*/ 1689453 w 2051465"/>
                    <a:gd name="connsiteY159" fmla="*/ 1131237 h 2053850"/>
                    <a:gd name="connsiteX160" fmla="*/ 360012 w 2051465"/>
                    <a:gd name="connsiteY160" fmla="*/ 1102066 h 2053850"/>
                    <a:gd name="connsiteX161" fmla="*/ 360821 w 2051465"/>
                    <a:gd name="connsiteY161" fmla="*/ 1131237 h 2053850"/>
                    <a:gd name="connsiteX162" fmla="*/ 337538 w 2051465"/>
                    <a:gd name="connsiteY162" fmla="*/ 1148511 h 2053850"/>
                    <a:gd name="connsiteX163" fmla="*/ 365348 w 2051465"/>
                    <a:gd name="connsiteY163" fmla="*/ 1156659 h 2053850"/>
                    <a:gd name="connsiteX164" fmla="*/ 374402 w 2051465"/>
                    <a:gd name="connsiteY164" fmla="*/ 1184363 h 2053850"/>
                    <a:gd name="connsiteX165" fmla="*/ 390732 w 2051465"/>
                    <a:gd name="connsiteY165" fmla="*/ 1160245 h 2053850"/>
                    <a:gd name="connsiteX166" fmla="*/ 419835 w 2051465"/>
                    <a:gd name="connsiteY166" fmla="*/ 1160082 h 2053850"/>
                    <a:gd name="connsiteX167" fmla="*/ 402050 w 2051465"/>
                    <a:gd name="connsiteY167" fmla="*/ 1137104 h 2053850"/>
                    <a:gd name="connsiteX168" fmla="*/ 410781 w 2051465"/>
                    <a:gd name="connsiteY168" fmla="*/ 1109237 h 2053850"/>
                    <a:gd name="connsiteX169" fmla="*/ 383618 w 2051465"/>
                    <a:gd name="connsiteY169" fmla="*/ 1119015 h 2053850"/>
                    <a:gd name="connsiteX170" fmla="*/ 1693366 w 2051465"/>
                    <a:gd name="connsiteY170" fmla="*/ 985180 h 2053850"/>
                    <a:gd name="connsiteX171" fmla="*/ 1673244 w 2051465"/>
                    <a:gd name="connsiteY171" fmla="*/ 1006012 h 2053850"/>
                    <a:gd name="connsiteX172" fmla="*/ 1644750 w 2051465"/>
                    <a:gd name="connsiteY172" fmla="*/ 1001130 h 2053850"/>
                    <a:gd name="connsiteX173" fmla="*/ 1658273 w 2051465"/>
                    <a:gd name="connsiteY173" fmla="*/ 1027007 h 2053850"/>
                    <a:gd name="connsiteX174" fmla="*/ 1644750 w 2051465"/>
                    <a:gd name="connsiteY174" fmla="*/ 1052721 h 2053850"/>
                    <a:gd name="connsiteX175" fmla="*/ 1673244 w 2051465"/>
                    <a:gd name="connsiteY175" fmla="*/ 1047838 h 2053850"/>
                    <a:gd name="connsiteX176" fmla="*/ 1693366 w 2051465"/>
                    <a:gd name="connsiteY176" fmla="*/ 1068670 h 2053850"/>
                    <a:gd name="connsiteX177" fmla="*/ 1697552 w 2051465"/>
                    <a:gd name="connsiteY177" fmla="*/ 1039864 h 2053850"/>
                    <a:gd name="connsiteX178" fmla="*/ 1723469 w 2051465"/>
                    <a:gd name="connsiteY178" fmla="*/ 1027007 h 2053850"/>
                    <a:gd name="connsiteX179" fmla="*/ 1697552 w 2051465"/>
                    <a:gd name="connsiteY179" fmla="*/ 1013987 h 2053850"/>
                    <a:gd name="connsiteX180" fmla="*/ 357363 w 2051465"/>
                    <a:gd name="connsiteY180" fmla="*/ 985180 h 2053850"/>
                    <a:gd name="connsiteX181" fmla="*/ 353114 w 2051465"/>
                    <a:gd name="connsiteY181" fmla="*/ 1013987 h 2053850"/>
                    <a:gd name="connsiteX182" fmla="*/ 326803 w 2051465"/>
                    <a:gd name="connsiteY182" fmla="*/ 1027007 h 2053850"/>
                    <a:gd name="connsiteX183" fmla="*/ 353114 w 2051465"/>
                    <a:gd name="connsiteY183" fmla="*/ 1039864 h 2053850"/>
                    <a:gd name="connsiteX184" fmla="*/ 357363 w 2051465"/>
                    <a:gd name="connsiteY184" fmla="*/ 1068670 h 2053850"/>
                    <a:gd name="connsiteX185" fmla="*/ 377790 w 2051465"/>
                    <a:gd name="connsiteY185" fmla="*/ 1047838 h 2053850"/>
                    <a:gd name="connsiteX186" fmla="*/ 406715 w 2051465"/>
                    <a:gd name="connsiteY186" fmla="*/ 1052721 h 2053850"/>
                    <a:gd name="connsiteX187" fmla="*/ 392988 w 2051465"/>
                    <a:gd name="connsiteY187" fmla="*/ 1027007 h 2053850"/>
                    <a:gd name="connsiteX188" fmla="*/ 406715 w 2051465"/>
                    <a:gd name="connsiteY188" fmla="*/ 1001130 h 2053850"/>
                    <a:gd name="connsiteX189" fmla="*/ 377790 w 2051465"/>
                    <a:gd name="connsiteY189" fmla="*/ 1006012 h 2053850"/>
                    <a:gd name="connsiteX190" fmla="*/ 1675871 w 2051465"/>
                    <a:gd name="connsiteY190" fmla="*/ 869487 h 2053850"/>
                    <a:gd name="connsiteX191" fmla="*/ 1659541 w 2051465"/>
                    <a:gd name="connsiteY191" fmla="*/ 893558 h 2053850"/>
                    <a:gd name="connsiteX192" fmla="*/ 1630438 w 2051465"/>
                    <a:gd name="connsiteY192" fmla="*/ 893721 h 2053850"/>
                    <a:gd name="connsiteX193" fmla="*/ 1648223 w 2051465"/>
                    <a:gd name="connsiteY193" fmla="*/ 916816 h 2053850"/>
                    <a:gd name="connsiteX194" fmla="*/ 1639493 w 2051465"/>
                    <a:gd name="connsiteY194" fmla="*/ 944628 h 2053850"/>
                    <a:gd name="connsiteX195" fmla="*/ 1666655 w 2051465"/>
                    <a:gd name="connsiteY195" fmla="*/ 934707 h 2053850"/>
                    <a:gd name="connsiteX196" fmla="*/ 1690261 w 2051465"/>
                    <a:gd name="connsiteY196" fmla="*/ 951784 h 2053850"/>
                    <a:gd name="connsiteX197" fmla="*/ 1689453 w 2051465"/>
                    <a:gd name="connsiteY197" fmla="*/ 922509 h 2053850"/>
                    <a:gd name="connsiteX198" fmla="*/ 1712735 w 2051465"/>
                    <a:gd name="connsiteY198" fmla="*/ 905269 h 2053850"/>
                    <a:gd name="connsiteX199" fmla="*/ 1684926 w 2051465"/>
                    <a:gd name="connsiteY199" fmla="*/ 897136 h 2053850"/>
                    <a:gd name="connsiteX200" fmla="*/ 374402 w 2051465"/>
                    <a:gd name="connsiteY200" fmla="*/ 869487 h 2053850"/>
                    <a:gd name="connsiteX201" fmla="*/ 365348 w 2051465"/>
                    <a:gd name="connsiteY201" fmla="*/ 897136 h 2053850"/>
                    <a:gd name="connsiteX202" fmla="*/ 337538 w 2051465"/>
                    <a:gd name="connsiteY202" fmla="*/ 905269 h 2053850"/>
                    <a:gd name="connsiteX203" fmla="*/ 360821 w 2051465"/>
                    <a:gd name="connsiteY203" fmla="*/ 922509 h 2053850"/>
                    <a:gd name="connsiteX204" fmla="*/ 360012 w 2051465"/>
                    <a:gd name="connsiteY204" fmla="*/ 951784 h 2053850"/>
                    <a:gd name="connsiteX205" fmla="*/ 383618 w 2051465"/>
                    <a:gd name="connsiteY205" fmla="*/ 934707 h 2053850"/>
                    <a:gd name="connsiteX206" fmla="*/ 410781 w 2051465"/>
                    <a:gd name="connsiteY206" fmla="*/ 944628 h 2053850"/>
                    <a:gd name="connsiteX207" fmla="*/ 402050 w 2051465"/>
                    <a:gd name="connsiteY207" fmla="*/ 916816 h 2053850"/>
                    <a:gd name="connsiteX208" fmla="*/ 419835 w 2051465"/>
                    <a:gd name="connsiteY208" fmla="*/ 893721 h 2053850"/>
                    <a:gd name="connsiteX209" fmla="*/ 390732 w 2051465"/>
                    <a:gd name="connsiteY209" fmla="*/ 893558 h 2053850"/>
                    <a:gd name="connsiteX210" fmla="*/ 1638921 w 2051465"/>
                    <a:gd name="connsiteY210" fmla="*/ 759758 h 2053850"/>
                    <a:gd name="connsiteX211" fmla="*/ 1626878 w 2051465"/>
                    <a:gd name="connsiteY211" fmla="*/ 785892 h 2053850"/>
                    <a:gd name="connsiteX212" fmla="*/ 1598234 w 2051465"/>
                    <a:gd name="connsiteY212" fmla="*/ 790991 h 2053850"/>
                    <a:gd name="connsiteX213" fmla="*/ 1619717 w 2051465"/>
                    <a:gd name="connsiteY213" fmla="*/ 810272 h 2053850"/>
                    <a:gd name="connsiteX214" fmla="*/ 1615811 w 2051465"/>
                    <a:gd name="connsiteY214" fmla="*/ 838477 h 2053850"/>
                    <a:gd name="connsiteX215" fmla="*/ 1641200 w 2051465"/>
                    <a:gd name="connsiteY215" fmla="*/ 824295 h 2053850"/>
                    <a:gd name="connsiteX216" fmla="*/ 1667402 w 2051465"/>
                    <a:gd name="connsiteY216" fmla="*/ 836724 h 2053850"/>
                    <a:gd name="connsiteX217" fmla="*/ 1661543 w 2051465"/>
                    <a:gd name="connsiteY217" fmla="*/ 808838 h 2053850"/>
                    <a:gd name="connsiteX218" fmla="*/ 1681724 w 2051465"/>
                    <a:gd name="connsiteY218" fmla="*/ 788123 h 2053850"/>
                    <a:gd name="connsiteX219" fmla="*/ 1652755 w 2051465"/>
                    <a:gd name="connsiteY219" fmla="*/ 784936 h 2053850"/>
                    <a:gd name="connsiteX220" fmla="*/ 411932 w 2051465"/>
                    <a:gd name="connsiteY220" fmla="*/ 759758 h 2053850"/>
                    <a:gd name="connsiteX221" fmla="*/ 398297 w 2051465"/>
                    <a:gd name="connsiteY221" fmla="*/ 784936 h 2053850"/>
                    <a:gd name="connsiteX222" fmla="*/ 369741 w 2051465"/>
                    <a:gd name="connsiteY222" fmla="*/ 788123 h 2053850"/>
                    <a:gd name="connsiteX223" fmla="*/ 389634 w 2051465"/>
                    <a:gd name="connsiteY223" fmla="*/ 808838 h 2053850"/>
                    <a:gd name="connsiteX224" fmla="*/ 383858 w 2051465"/>
                    <a:gd name="connsiteY224" fmla="*/ 836724 h 2053850"/>
                    <a:gd name="connsiteX225" fmla="*/ 409687 w 2051465"/>
                    <a:gd name="connsiteY225" fmla="*/ 824295 h 2053850"/>
                    <a:gd name="connsiteX226" fmla="*/ 434713 w 2051465"/>
                    <a:gd name="connsiteY226" fmla="*/ 838477 h 2053850"/>
                    <a:gd name="connsiteX227" fmla="*/ 430862 w 2051465"/>
                    <a:gd name="connsiteY227" fmla="*/ 810272 h 2053850"/>
                    <a:gd name="connsiteX228" fmla="*/ 452038 w 2051465"/>
                    <a:gd name="connsiteY228" fmla="*/ 790991 h 2053850"/>
                    <a:gd name="connsiteX229" fmla="*/ 423804 w 2051465"/>
                    <a:gd name="connsiteY229" fmla="*/ 785892 h 2053850"/>
                    <a:gd name="connsiteX230" fmla="*/ 1583584 w 2051465"/>
                    <a:gd name="connsiteY230" fmla="*/ 655992 h 2053850"/>
                    <a:gd name="connsiteX231" fmla="*/ 1576476 w 2051465"/>
                    <a:gd name="connsiteY231" fmla="*/ 684421 h 2053850"/>
                    <a:gd name="connsiteX232" fmla="*/ 1549333 w 2051465"/>
                    <a:gd name="connsiteY232" fmla="*/ 694551 h 2053850"/>
                    <a:gd name="connsiteX233" fmla="*/ 1573729 w 2051465"/>
                    <a:gd name="connsiteY233" fmla="*/ 710236 h 2053850"/>
                    <a:gd name="connsiteX234" fmla="*/ 1575022 w 2051465"/>
                    <a:gd name="connsiteY234" fmla="*/ 739482 h 2053850"/>
                    <a:gd name="connsiteX235" fmla="*/ 1597156 w 2051465"/>
                    <a:gd name="connsiteY235" fmla="*/ 720856 h 2053850"/>
                    <a:gd name="connsiteX236" fmla="*/ 1625106 w 2051465"/>
                    <a:gd name="connsiteY236" fmla="*/ 728699 h 2053850"/>
                    <a:gd name="connsiteX237" fmla="*/ 1614443 w 2051465"/>
                    <a:gd name="connsiteY237" fmla="*/ 701577 h 2053850"/>
                    <a:gd name="connsiteX238" fmla="*/ 1630437 w 2051465"/>
                    <a:gd name="connsiteY238" fmla="*/ 677232 h 2053850"/>
                    <a:gd name="connsiteX239" fmla="*/ 1601518 w 2051465"/>
                    <a:gd name="connsiteY239" fmla="*/ 679029 h 2053850"/>
                    <a:gd name="connsiteX240" fmla="*/ 467880 w 2051465"/>
                    <a:gd name="connsiteY240" fmla="*/ 655992 h 2053850"/>
                    <a:gd name="connsiteX241" fmla="*/ 449947 w 2051465"/>
                    <a:gd name="connsiteY241" fmla="*/ 679029 h 2053850"/>
                    <a:gd name="connsiteX242" fmla="*/ 421027 w 2051465"/>
                    <a:gd name="connsiteY242" fmla="*/ 677232 h 2053850"/>
                    <a:gd name="connsiteX243" fmla="*/ 437022 w 2051465"/>
                    <a:gd name="connsiteY243" fmla="*/ 701577 h 2053850"/>
                    <a:gd name="connsiteX244" fmla="*/ 426359 w 2051465"/>
                    <a:gd name="connsiteY244" fmla="*/ 728699 h 2053850"/>
                    <a:gd name="connsiteX245" fmla="*/ 454309 w 2051465"/>
                    <a:gd name="connsiteY245" fmla="*/ 720856 h 2053850"/>
                    <a:gd name="connsiteX246" fmla="*/ 476443 w 2051465"/>
                    <a:gd name="connsiteY246" fmla="*/ 739482 h 2053850"/>
                    <a:gd name="connsiteX247" fmla="*/ 477735 w 2051465"/>
                    <a:gd name="connsiteY247" fmla="*/ 710236 h 2053850"/>
                    <a:gd name="connsiteX248" fmla="*/ 502131 w 2051465"/>
                    <a:gd name="connsiteY248" fmla="*/ 694551 h 2053850"/>
                    <a:gd name="connsiteX249" fmla="*/ 474989 w 2051465"/>
                    <a:gd name="connsiteY249" fmla="*/ 684421 h 2053850"/>
                    <a:gd name="connsiteX250" fmla="*/ 1510799 w 2051465"/>
                    <a:gd name="connsiteY250" fmla="*/ 565346 h 2053850"/>
                    <a:gd name="connsiteX251" fmla="*/ 1508557 w 2051465"/>
                    <a:gd name="connsiteY251" fmla="*/ 594118 h 2053850"/>
                    <a:gd name="connsiteX252" fmla="*/ 1483734 w 2051465"/>
                    <a:gd name="connsiteY252" fmla="*/ 608584 h 2053850"/>
                    <a:gd name="connsiteX253" fmla="*/ 1510318 w 2051465"/>
                    <a:gd name="connsiteY253" fmla="*/ 619514 h 2053850"/>
                    <a:gd name="connsiteX254" fmla="*/ 1516404 w 2051465"/>
                    <a:gd name="connsiteY254" fmla="*/ 647643 h 2053850"/>
                    <a:gd name="connsiteX255" fmla="*/ 1534980 w 2051465"/>
                    <a:gd name="connsiteY255" fmla="*/ 625783 h 2053850"/>
                    <a:gd name="connsiteX256" fmla="*/ 1563646 w 2051465"/>
                    <a:gd name="connsiteY256" fmla="*/ 628516 h 2053850"/>
                    <a:gd name="connsiteX257" fmla="*/ 1548593 w 2051465"/>
                    <a:gd name="connsiteY257" fmla="*/ 604084 h 2053850"/>
                    <a:gd name="connsiteX258" fmla="*/ 1560123 w 2051465"/>
                    <a:gd name="connsiteY258" fmla="*/ 577723 h 2053850"/>
                    <a:gd name="connsiteX259" fmla="*/ 1532098 w 2051465"/>
                    <a:gd name="connsiteY259" fmla="*/ 584474 h 2053850"/>
                    <a:gd name="connsiteX260" fmla="*/ 540263 w 2051465"/>
                    <a:gd name="connsiteY260" fmla="*/ 565346 h 2053850"/>
                    <a:gd name="connsiteX261" fmla="*/ 518646 w 2051465"/>
                    <a:gd name="connsiteY261" fmla="*/ 584474 h 2053850"/>
                    <a:gd name="connsiteX262" fmla="*/ 490203 w 2051465"/>
                    <a:gd name="connsiteY262" fmla="*/ 577723 h 2053850"/>
                    <a:gd name="connsiteX263" fmla="*/ 502068 w 2051465"/>
                    <a:gd name="connsiteY263" fmla="*/ 604084 h 2053850"/>
                    <a:gd name="connsiteX264" fmla="*/ 486627 w 2051465"/>
                    <a:gd name="connsiteY264" fmla="*/ 628516 h 2053850"/>
                    <a:gd name="connsiteX265" fmla="*/ 515721 w 2051465"/>
                    <a:gd name="connsiteY265" fmla="*/ 625783 h 2053850"/>
                    <a:gd name="connsiteX266" fmla="*/ 534575 w 2051465"/>
                    <a:gd name="connsiteY266" fmla="*/ 647643 h 2053850"/>
                    <a:gd name="connsiteX267" fmla="*/ 540751 w 2051465"/>
                    <a:gd name="connsiteY267" fmla="*/ 619514 h 2053850"/>
                    <a:gd name="connsiteX268" fmla="*/ 567731 w 2051465"/>
                    <a:gd name="connsiteY268" fmla="*/ 608584 h 2053850"/>
                    <a:gd name="connsiteX269" fmla="*/ 542539 w 2051465"/>
                    <a:gd name="connsiteY269" fmla="*/ 594118 h 2053850"/>
                    <a:gd name="connsiteX270" fmla="*/ 1422950 w 2051465"/>
                    <a:gd name="connsiteY270" fmla="*/ 487819 h 2053850"/>
                    <a:gd name="connsiteX271" fmla="*/ 1425843 w 2051465"/>
                    <a:gd name="connsiteY271" fmla="*/ 516913 h 2053850"/>
                    <a:gd name="connsiteX272" fmla="*/ 1403822 w 2051465"/>
                    <a:gd name="connsiteY272" fmla="*/ 535766 h 2053850"/>
                    <a:gd name="connsiteX273" fmla="*/ 1431951 w 2051465"/>
                    <a:gd name="connsiteY273" fmla="*/ 541943 h 2053850"/>
                    <a:gd name="connsiteX274" fmla="*/ 1442881 w 2051465"/>
                    <a:gd name="connsiteY274" fmla="*/ 568923 h 2053850"/>
                    <a:gd name="connsiteX275" fmla="*/ 1457347 w 2051465"/>
                    <a:gd name="connsiteY275" fmla="*/ 543731 h 2053850"/>
                    <a:gd name="connsiteX276" fmla="*/ 1486119 w 2051465"/>
                    <a:gd name="connsiteY276" fmla="*/ 541618 h 2053850"/>
                    <a:gd name="connsiteX277" fmla="*/ 1466992 w 2051465"/>
                    <a:gd name="connsiteY277" fmla="*/ 519838 h 2053850"/>
                    <a:gd name="connsiteX278" fmla="*/ 1473743 w 2051465"/>
                    <a:gd name="connsiteY278" fmla="*/ 491557 h 2053850"/>
                    <a:gd name="connsiteX279" fmla="*/ 1447382 w 2051465"/>
                    <a:gd name="connsiteY279" fmla="*/ 503260 h 2053850"/>
                    <a:gd name="connsiteX280" fmla="*/ 627323 w 2051465"/>
                    <a:gd name="connsiteY280" fmla="*/ 487819 h 2053850"/>
                    <a:gd name="connsiteX281" fmla="*/ 602891 w 2051465"/>
                    <a:gd name="connsiteY281" fmla="*/ 503260 h 2053850"/>
                    <a:gd name="connsiteX282" fmla="*/ 576530 w 2051465"/>
                    <a:gd name="connsiteY282" fmla="*/ 491557 h 2053850"/>
                    <a:gd name="connsiteX283" fmla="*/ 583281 w 2051465"/>
                    <a:gd name="connsiteY283" fmla="*/ 519838 h 2053850"/>
                    <a:gd name="connsiteX284" fmla="*/ 564153 w 2051465"/>
                    <a:gd name="connsiteY284" fmla="*/ 541618 h 2053850"/>
                    <a:gd name="connsiteX285" fmla="*/ 592925 w 2051465"/>
                    <a:gd name="connsiteY285" fmla="*/ 543731 h 2053850"/>
                    <a:gd name="connsiteX286" fmla="*/ 607391 w 2051465"/>
                    <a:gd name="connsiteY286" fmla="*/ 568923 h 2053850"/>
                    <a:gd name="connsiteX287" fmla="*/ 618321 w 2051465"/>
                    <a:gd name="connsiteY287" fmla="*/ 541943 h 2053850"/>
                    <a:gd name="connsiteX288" fmla="*/ 646450 w 2051465"/>
                    <a:gd name="connsiteY288" fmla="*/ 535766 h 2053850"/>
                    <a:gd name="connsiteX289" fmla="*/ 624429 w 2051465"/>
                    <a:gd name="connsiteY289" fmla="*/ 516913 h 2053850"/>
                    <a:gd name="connsiteX290" fmla="*/ 1374698 w 2051465"/>
                    <a:gd name="connsiteY290" fmla="*/ 421027 h 2053850"/>
                    <a:gd name="connsiteX291" fmla="*/ 1350701 w 2051465"/>
                    <a:gd name="connsiteY291" fmla="*/ 437421 h 2053850"/>
                    <a:gd name="connsiteX292" fmla="*/ 1323806 w 2051465"/>
                    <a:gd name="connsiteY292" fmla="*/ 426437 h 2053850"/>
                    <a:gd name="connsiteX293" fmla="*/ 1331697 w 2051465"/>
                    <a:gd name="connsiteY293" fmla="*/ 454798 h 2053850"/>
                    <a:gd name="connsiteX294" fmla="*/ 1313176 w 2051465"/>
                    <a:gd name="connsiteY294" fmla="*/ 477422 h 2053850"/>
                    <a:gd name="connsiteX295" fmla="*/ 1342004 w 2051465"/>
                    <a:gd name="connsiteY295" fmla="*/ 478569 h 2053850"/>
                    <a:gd name="connsiteX296" fmla="*/ 1357465 w 2051465"/>
                    <a:gd name="connsiteY296" fmla="*/ 503324 h 2053850"/>
                    <a:gd name="connsiteX297" fmla="*/ 1367450 w 2051465"/>
                    <a:gd name="connsiteY297" fmla="*/ 475783 h 2053850"/>
                    <a:gd name="connsiteX298" fmla="*/ 1395473 w 2051465"/>
                    <a:gd name="connsiteY298" fmla="*/ 468569 h 2053850"/>
                    <a:gd name="connsiteX299" fmla="*/ 1372765 w 2051465"/>
                    <a:gd name="connsiteY299" fmla="*/ 450372 h 2053850"/>
                    <a:gd name="connsiteX300" fmla="*/ 676768 w 2051465"/>
                    <a:gd name="connsiteY300" fmla="*/ 421027 h 2053850"/>
                    <a:gd name="connsiteX301" fmla="*/ 678700 w 2051465"/>
                    <a:gd name="connsiteY301" fmla="*/ 450372 h 2053850"/>
                    <a:gd name="connsiteX302" fmla="*/ 655992 w 2051465"/>
                    <a:gd name="connsiteY302" fmla="*/ 468569 h 2053850"/>
                    <a:gd name="connsiteX303" fmla="*/ 684015 w 2051465"/>
                    <a:gd name="connsiteY303" fmla="*/ 475783 h 2053850"/>
                    <a:gd name="connsiteX304" fmla="*/ 694000 w 2051465"/>
                    <a:gd name="connsiteY304" fmla="*/ 503324 h 2053850"/>
                    <a:gd name="connsiteX305" fmla="*/ 709461 w 2051465"/>
                    <a:gd name="connsiteY305" fmla="*/ 478569 h 2053850"/>
                    <a:gd name="connsiteX306" fmla="*/ 738289 w 2051465"/>
                    <a:gd name="connsiteY306" fmla="*/ 477422 h 2053850"/>
                    <a:gd name="connsiteX307" fmla="*/ 719768 w 2051465"/>
                    <a:gd name="connsiteY307" fmla="*/ 454798 h 2053850"/>
                    <a:gd name="connsiteX308" fmla="*/ 727660 w 2051465"/>
                    <a:gd name="connsiteY308" fmla="*/ 426437 h 2053850"/>
                    <a:gd name="connsiteX309" fmla="*/ 700764 w 2051465"/>
                    <a:gd name="connsiteY309" fmla="*/ 437421 h 2053850"/>
                    <a:gd name="connsiteX310" fmla="*/ 1264106 w 2051465"/>
                    <a:gd name="connsiteY310" fmla="*/ 369741 h 2053850"/>
                    <a:gd name="connsiteX311" fmla="*/ 1243238 w 2051465"/>
                    <a:gd name="connsiteY311" fmla="*/ 389883 h 2053850"/>
                    <a:gd name="connsiteX312" fmla="*/ 1214768 w 2051465"/>
                    <a:gd name="connsiteY312" fmla="*/ 384035 h 2053850"/>
                    <a:gd name="connsiteX313" fmla="*/ 1227385 w 2051465"/>
                    <a:gd name="connsiteY313" fmla="*/ 410187 h 2053850"/>
                    <a:gd name="connsiteX314" fmla="*/ 1212988 w 2051465"/>
                    <a:gd name="connsiteY314" fmla="*/ 435526 h 2053850"/>
                    <a:gd name="connsiteX315" fmla="*/ 1241782 w 2051465"/>
                    <a:gd name="connsiteY315" fmla="*/ 431628 h 2053850"/>
                    <a:gd name="connsiteX316" fmla="*/ 1261194 w 2051465"/>
                    <a:gd name="connsiteY316" fmla="*/ 453231 h 2053850"/>
                    <a:gd name="connsiteX317" fmla="*/ 1266371 w 2051465"/>
                    <a:gd name="connsiteY317" fmla="*/ 424481 h 2053850"/>
                    <a:gd name="connsiteX318" fmla="*/ 1292900 w 2051465"/>
                    <a:gd name="connsiteY318" fmla="*/ 412461 h 2053850"/>
                    <a:gd name="connsiteX319" fmla="*/ 1267341 w 2051465"/>
                    <a:gd name="connsiteY319" fmla="*/ 398654 h 2053850"/>
                    <a:gd name="connsiteX320" fmla="*/ 786930 w 2051465"/>
                    <a:gd name="connsiteY320" fmla="*/ 369741 h 2053850"/>
                    <a:gd name="connsiteX321" fmla="*/ 783743 w 2051465"/>
                    <a:gd name="connsiteY321" fmla="*/ 398654 h 2053850"/>
                    <a:gd name="connsiteX322" fmla="*/ 758565 w 2051465"/>
                    <a:gd name="connsiteY322" fmla="*/ 412461 h 2053850"/>
                    <a:gd name="connsiteX323" fmla="*/ 784699 w 2051465"/>
                    <a:gd name="connsiteY323" fmla="*/ 424481 h 2053850"/>
                    <a:gd name="connsiteX324" fmla="*/ 789798 w 2051465"/>
                    <a:gd name="connsiteY324" fmla="*/ 453231 h 2053850"/>
                    <a:gd name="connsiteX325" fmla="*/ 808920 w 2051465"/>
                    <a:gd name="connsiteY325" fmla="*/ 431628 h 2053850"/>
                    <a:gd name="connsiteX326" fmla="*/ 837284 w 2051465"/>
                    <a:gd name="connsiteY326" fmla="*/ 435526 h 2053850"/>
                    <a:gd name="connsiteX327" fmla="*/ 823102 w 2051465"/>
                    <a:gd name="connsiteY327" fmla="*/ 410187 h 2053850"/>
                    <a:gd name="connsiteX328" fmla="*/ 835531 w 2051465"/>
                    <a:gd name="connsiteY328" fmla="*/ 384035 h 2053850"/>
                    <a:gd name="connsiteX329" fmla="*/ 807486 w 2051465"/>
                    <a:gd name="connsiteY329" fmla="*/ 389883 h 2053850"/>
                    <a:gd name="connsiteX330" fmla="*/ 1146715 w 2051465"/>
                    <a:gd name="connsiteY330" fmla="*/ 338730 h 2053850"/>
                    <a:gd name="connsiteX331" fmla="*/ 1129724 w 2051465"/>
                    <a:gd name="connsiteY331" fmla="*/ 362174 h 2053850"/>
                    <a:gd name="connsiteX332" fmla="*/ 1100873 w 2051465"/>
                    <a:gd name="connsiteY332" fmla="*/ 361204 h 2053850"/>
                    <a:gd name="connsiteX333" fmla="*/ 1117703 w 2051465"/>
                    <a:gd name="connsiteY333" fmla="*/ 384810 h 2053850"/>
                    <a:gd name="connsiteX334" fmla="*/ 1108086 w 2051465"/>
                    <a:gd name="connsiteY334" fmla="*/ 412135 h 2053850"/>
                    <a:gd name="connsiteX335" fmla="*/ 1135334 w 2051465"/>
                    <a:gd name="connsiteY335" fmla="*/ 403242 h 2053850"/>
                    <a:gd name="connsiteX336" fmla="*/ 1158095 w 2051465"/>
                    <a:gd name="connsiteY336" fmla="*/ 421027 h 2053850"/>
                    <a:gd name="connsiteX337" fmla="*/ 1158255 w 2051465"/>
                    <a:gd name="connsiteY337" fmla="*/ 391924 h 2053850"/>
                    <a:gd name="connsiteX338" fmla="*/ 1181977 w 2051465"/>
                    <a:gd name="connsiteY338" fmla="*/ 375594 h 2053850"/>
                    <a:gd name="connsiteX339" fmla="*/ 1154729 w 2051465"/>
                    <a:gd name="connsiteY339" fmla="*/ 366540 h 2053850"/>
                    <a:gd name="connsiteX340" fmla="*/ 904076 w 2051465"/>
                    <a:gd name="connsiteY340" fmla="*/ 338730 h 2053850"/>
                    <a:gd name="connsiteX341" fmla="*/ 895943 w 2051465"/>
                    <a:gd name="connsiteY341" fmla="*/ 366540 h 2053850"/>
                    <a:gd name="connsiteX342" fmla="*/ 868294 w 2051465"/>
                    <a:gd name="connsiteY342" fmla="*/ 375594 h 2053850"/>
                    <a:gd name="connsiteX343" fmla="*/ 892365 w 2051465"/>
                    <a:gd name="connsiteY343" fmla="*/ 391924 h 2053850"/>
                    <a:gd name="connsiteX344" fmla="*/ 892528 w 2051465"/>
                    <a:gd name="connsiteY344" fmla="*/ 421027 h 2053850"/>
                    <a:gd name="connsiteX345" fmla="*/ 915623 w 2051465"/>
                    <a:gd name="connsiteY345" fmla="*/ 403242 h 2053850"/>
                    <a:gd name="connsiteX346" fmla="*/ 943272 w 2051465"/>
                    <a:gd name="connsiteY346" fmla="*/ 412135 h 2053850"/>
                    <a:gd name="connsiteX347" fmla="*/ 933514 w 2051465"/>
                    <a:gd name="connsiteY347" fmla="*/ 384810 h 2053850"/>
                    <a:gd name="connsiteX348" fmla="*/ 950591 w 2051465"/>
                    <a:gd name="connsiteY348" fmla="*/ 361204 h 2053850"/>
                    <a:gd name="connsiteX349" fmla="*/ 921316 w 2051465"/>
                    <a:gd name="connsiteY349" fmla="*/ 362174 h 2053850"/>
                    <a:gd name="connsiteX350" fmla="*/ 1025815 w 2051465"/>
                    <a:gd name="connsiteY350" fmla="*/ 327996 h 2053850"/>
                    <a:gd name="connsiteX351" fmla="*/ 1012795 w 2051465"/>
                    <a:gd name="connsiteY351" fmla="*/ 353914 h 2053850"/>
                    <a:gd name="connsiteX352" fmla="*/ 983988 w 2051465"/>
                    <a:gd name="connsiteY352" fmla="*/ 358099 h 2053850"/>
                    <a:gd name="connsiteX353" fmla="*/ 1004820 w 2051465"/>
                    <a:gd name="connsiteY353" fmla="*/ 378222 h 2053850"/>
                    <a:gd name="connsiteX354" fmla="*/ 999938 w 2051465"/>
                    <a:gd name="connsiteY354" fmla="*/ 406715 h 2053850"/>
                    <a:gd name="connsiteX355" fmla="*/ 1025815 w 2051465"/>
                    <a:gd name="connsiteY355" fmla="*/ 393193 h 2053850"/>
                    <a:gd name="connsiteX356" fmla="*/ 1051529 w 2051465"/>
                    <a:gd name="connsiteY356" fmla="*/ 406715 h 2053850"/>
                    <a:gd name="connsiteX357" fmla="*/ 1046646 w 2051465"/>
                    <a:gd name="connsiteY357" fmla="*/ 378222 h 2053850"/>
                    <a:gd name="connsiteX358" fmla="*/ 1067478 w 2051465"/>
                    <a:gd name="connsiteY358" fmla="*/ 358099 h 2053850"/>
                    <a:gd name="connsiteX359" fmla="*/ 1038672 w 2051465"/>
                    <a:gd name="connsiteY359" fmla="*/ 353914 h 2053850"/>
                    <a:gd name="connsiteX360" fmla="*/ 1021692 w 2051465"/>
                    <a:gd name="connsiteY360" fmla="*/ 287509 h 2053850"/>
                    <a:gd name="connsiteX361" fmla="*/ 1748629 w 2051465"/>
                    <a:gd name="connsiteY361" fmla="*/ 1014446 h 2053850"/>
                    <a:gd name="connsiteX362" fmla="*/ 1021692 w 2051465"/>
                    <a:gd name="connsiteY362" fmla="*/ 1741383 h 2053850"/>
                    <a:gd name="connsiteX363" fmla="*/ 294755 w 2051465"/>
                    <a:gd name="connsiteY363" fmla="*/ 1014446 h 2053850"/>
                    <a:gd name="connsiteX364" fmla="*/ 1021692 w 2051465"/>
                    <a:gd name="connsiteY364" fmla="*/ 287509 h 2053850"/>
                    <a:gd name="connsiteX365" fmla="*/ 1021692 w 2051465"/>
                    <a:gd name="connsiteY365" fmla="*/ 204488 h 2053850"/>
                    <a:gd name="connsiteX366" fmla="*/ 211734 w 2051465"/>
                    <a:gd name="connsiteY366" fmla="*/ 1014446 h 2053850"/>
                    <a:gd name="connsiteX367" fmla="*/ 1021692 w 2051465"/>
                    <a:gd name="connsiteY367" fmla="*/ 1824404 h 2053850"/>
                    <a:gd name="connsiteX368" fmla="*/ 1831650 w 2051465"/>
                    <a:gd name="connsiteY368" fmla="*/ 1014446 h 2053850"/>
                    <a:gd name="connsiteX369" fmla="*/ 1021692 w 2051465"/>
                    <a:gd name="connsiteY369" fmla="*/ 204488 h 2053850"/>
                    <a:gd name="connsiteX370" fmla="*/ 1025813 w 2051465"/>
                    <a:gd name="connsiteY370" fmla="*/ 0 h 2053850"/>
                    <a:gd name="connsiteX371" fmla="*/ 1266289 w 2051465"/>
                    <a:gd name="connsiteY371" fmla="*/ 127810 h 2053850"/>
                    <a:gd name="connsiteX372" fmla="*/ 1538559 w 2051465"/>
                    <a:gd name="connsiteY372" fmla="*/ 137667 h 2053850"/>
                    <a:gd name="connsiteX373" fmla="*/ 1683167 w 2051465"/>
                    <a:gd name="connsiteY373" fmla="*/ 368727 h 2053850"/>
                    <a:gd name="connsiteX374" fmla="*/ 1913958 w 2051465"/>
                    <a:gd name="connsiteY374" fmla="*/ 513503 h 2053850"/>
                    <a:gd name="connsiteX375" fmla="*/ 1923803 w 2051465"/>
                    <a:gd name="connsiteY375" fmla="*/ 786089 h 2053850"/>
                    <a:gd name="connsiteX376" fmla="*/ 2051465 w 2051465"/>
                    <a:gd name="connsiteY376" fmla="*/ 1027006 h 2053850"/>
                    <a:gd name="connsiteX377" fmla="*/ 1923803 w 2051465"/>
                    <a:gd name="connsiteY377" fmla="*/ 1267923 h 2053850"/>
                    <a:gd name="connsiteX378" fmla="*/ 1913958 w 2051465"/>
                    <a:gd name="connsiteY378" fmla="*/ 1540347 h 2053850"/>
                    <a:gd name="connsiteX379" fmla="*/ 1683167 w 2051465"/>
                    <a:gd name="connsiteY379" fmla="*/ 1685123 h 2053850"/>
                    <a:gd name="connsiteX380" fmla="*/ 1538559 w 2051465"/>
                    <a:gd name="connsiteY380" fmla="*/ 1916345 h 2053850"/>
                    <a:gd name="connsiteX381" fmla="*/ 1266289 w 2051465"/>
                    <a:gd name="connsiteY381" fmla="*/ 1926040 h 2053850"/>
                    <a:gd name="connsiteX382" fmla="*/ 1025813 w 2051465"/>
                    <a:gd name="connsiteY382" fmla="*/ 2053850 h 2053850"/>
                    <a:gd name="connsiteX383" fmla="*/ 785177 w 2051465"/>
                    <a:gd name="connsiteY383" fmla="*/ 1926040 h 2053850"/>
                    <a:gd name="connsiteX384" fmla="*/ 512907 w 2051465"/>
                    <a:gd name="connsiteY384" fmla="*/ 1916345 h 2053850"/>
                    <a:gd name="connsiteX385" fmla="*/ 368299 w 2051465"/>
                    <a:gd name="connsiteY385" fmla="*/ 1685123 h 2053850"/>
                    <a:gd name="connsiteX386" fmla="*/ 137507 w 2051465"/>
                    <a:gd name="connsiteY386" fmla="*/ 1540347 h 2053850"/>
                    <a:gd name="connsiteX387" fmla="*/ 127662 w 2051465"/>
                    <a:gd name="connsiteY387" fmla="*/ 1267923 h 2053850"/>
                    <a:gd name="connsiteX388" fmla="*/ 0 w 2051465"/>
                    <a:gd name="connsiteY388" fmla="*/ 1027006 h 2053850"/>
                    <a:gd name="connsiteX389" fmla="*/ 127662 w 2051465"/>
                    <a:gd name="connsiteY389" fmla="*/ 786089 h 2053850"/>
                    <a:gd name="connsiteX390" fmla="*/ 137507 w 2051465"/>
                    <a:gd name="connsiteY390" fmla="*/ 513503 h 2053850"/>
                    <a:gd name="connsiteX391" fmla="*/ 368299 w 2051465"/>
                    <a:gd name="connsiteY391" fmla="*/ 368727 h 2053850"/>
                    <a:gd name="connsiteX392" fmla="*/ 512907 w 2051465"/>
                    <a:gd name="connsiteY392" fmla="*/ 137667 h 2053850"/>
                    <a:gd name="connsiteX393" fmla="*/ 785177 w 2051465"/>
                    <a:gd name="connsiteY393" fmla="*/ 127810 h 2053850"/>
                    <a:gd name="connsiteX394" fmla="*/ 1025813 w 2051465"/>
                    <a:gd name="connsiteY394" fmla="*/ 0 h 2053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</a:cxnLst>
                  <a:rect l="l" t="t" r="r" b="b"/>
                  <a:pathLst>
                    <a:path w="2051465" h="2053850">
                      <a:moveTo>
                        <a:pt x="999938" y="1647136"/>
                      </a:moveTo>
                      <a:lnTo>
                        <a:pt x="1004820" y="1675527"/>
                      </a:lnTo>
                      <a:lnTo>
                        <a:pt x="983988" y="1695690"/>
                      </a:lnTo>
                      <a:lnTo>
                        <a:pt x="1012795" y="1699884"/>
                      </a:lnTo>
                      <a:lnTo>
                        <a:pt x="1025815" y="1725855"/>
                      </a:lnTo>
                      <a:lnTo>
                        <a:pt x="1038672" y="1699884"/>
                      </a:lnTo>
                      <a:lnTo>
                        <a:pt x="1067478" y="1695690"/>
                      </a:lnTo>
                      <a:lnTo>
                        <a:pt x="1046646" y="1675527"/>
                      </a:lnTo>
                      <a:lnTo>
                        <a:pt x="1051529" y="1647136"/>
                      </a:lnTo>
                      <a:lnTo>
                        <a:pt x="1025815" y="1660525"/>
                      </a:lnTo>
                      <a:close/>
                      <a:moveTo>
                        <a:pt x="1158095" y="1634016"/>
                      </a:moveTo>
                      <a:lnTo>
                        <a:pt x="1135334" y="1651418"/>
                      </a:lnTo>
                      <a:lnTo>
                        <a:pt x="1108086" y="1642797"/>
                      </a:lnTo>
                      <a:lnTo>
                        <a:pt x="1117703" y="1669779"/>
                      </a:lnTo>
                      <a:lnTo>
                        <a:pt x="1100873" y="1692928"/>
                      </a:lnTo>
                      <a:lnTo>
                        <a:pt x="1129724" y="1692130"/>
                      </a:lnTo>
                      <a:lnTo>
                        <a:pt x="1146715" y="1715120"/>
                      </a:lnTo>
                      <a:lnTo>
                        <a:pt x="1154729" y="1687660"/>
                      </a:lnTo>
                      <a:lnTo>
                        <a:pt x="1181977" y="1678719"/>
                      </a:lnTo>
                      <a:lnTo>
                        <a:pt x="1158255" y="1662594"/>
                      </a:lnTo>
                      <a:close/>
                      <a:moveTo>
                        <a:pt x="892528" y="1634016"/>
                      </a:moveTo>
                      <a:lnTo>
                        <a:pt x="892365" y="1662594"/>
                      </a:lnTo>
                      <a:lnTo>
                        <a:pt x="868294" y="1678719"/>
                      </a:lnTo>
                      <a:lnTo>
                        <a:pt x="895943" y="1687660"/>
                      </a:lnTo>
                      <a:lnTo>
                        <a:pt x="904076" y="1715120"/>
                      </a:lnTo>
                      <a:lnTo>
                        <a:pt x="921316" y="1692130"/>
                      </a:lnTo>
                      <a:lnTo>
                        <a:pt x="950591" y="1692928"/>
                      </a:lnTo>
                      <a:lnTo>
                        <a:pt x="933514" y="1669779"/>
                      </a:lnTo>
                      <a:lnTo>
                        <a:pt x="943272" y="1642797"/>
                      </a:lnTo>
                      <a:lnTo>
                        <a:pt x="915623" y="1651418"/>
                      </a:lnTo>
                      <a:close/>
                      <a:moveTo>
                        <a:pt x="1261194" y="1600620"/>
                      </a:moveTo>
                      <a:lnTo>
                        <a:pt x="1241782" y="1622103"/>
                      </a:lnTo>
                      <a:lnTo>
                        <a:pt x="1212988" y="1618197"/>
                      </a:lnTo>
                      <a:lnTo>
                        <a:pt x="1227385" y="1643586"/>
                      </a:lnTo>
                      <a:lnTo>
                        <a:pt x="1214768" y="1669951"/>
                      </a:lnTo>
                      <a:lnTo>
                        <a:pt x="1243238" y="1663929"/>
                      </a:lnTo>
                      <a:lnTo>
                        <a:pt x="1264106" y="1684110"/>
                      </a:lnTo>
                      <a:lnTo>
                        <a:pt x="1267341" y="1655141"/>
                      </a:lnTo>
                      <a:lnTo>
                        <a:pt x="1292900" y="1641307"/>
                      </a:lnTo>
                      <a:lnTo>
                        <a:pt x="1266371" y="1629264"/>
                      </a:lnTo>
                      <a:close/>
                      <a:moveTo>
                        <a:pt x="789798" y="1600620"/>
                      </a:moveTo>
                      <a:lnTo>
                        <a:pt x="784699" y="1629264"/>
                      </a:lnTo>
                      <a:lnTo>
                        <a:pt x="758565" y="1641307"/>
                      </a:lnTo>
                      <a:lnTo>
                        <a:pt x="783743" y="1655141"/>
                      </a:lnTo>
                      <a:lnTo>
                        <a:pt x="786930" y="1684110"/>
                      </a:lnTo>
                      <a:lnTo>
                        <a:pt x="807486" y="1663929"/>
                      </a:lnTo>
                      <a:lnTo>
                        <a:pt x="835531" y="1669951"/>
                      </a:lnTo>
                      <a:lnTo>
                        <a:pt x="823102" y="1643586"/>
                      </a:lnTo>
                      <a:lnTo>
                        <a:pt x="837284" y="1618197"/>
                      </a:lnTo>
                      <a:lnTo>
                        <a:pt x="808920" y="1622103"/>
                      </a:lnTo>
                      <a:close/>
                      <a:moveTo>
                        <a:pt x="1357465" y="1551719"/>
                      </a:moveTo>
                      <a:lnTo>
                        <a:pt x="1342004" y="1576277"/>
                      </a:lnTo>
                      <a:lnTo>
                        <a:pt x="1313176" y="1577408"/>
                      </a:lnTo>
                      <a:lnTo>
                        <a:pt x="1331697" y="1599703"/>
                      </a:lnTo>
                      <a:lnTo>
                        <a:pt x="1323806" y="1627492"/>
                      </a:lnTo>
                      <a:lnTo>
                        <a:pt x="1350701" y="1616829"/>
                      </a:lnTo>
                      <a:lnTo>
                        <a:pt x="1374698" y="1632823"/>
                      </a:lnTo>
                      <a:lnTo>
                        <a:pt x="1372765" y="1603904"/>
                      </a:lnTo>
                      <a:lnTo>
                        <a:pt x="1395473" y="1585970"/>
                      </a:lnTo>
                      <a:lnTo>
                        <a:pt x="1367450" y="1578862"/>
                      </a:lnTo>
                      <a:close/>
                      <a:moveTo>
                        <a:pt x="694000" y="1551719"/>
                      </a:moveTo>
                      <a:lnTo>
                        <a:pt x="684015" y="1578862"/>
                      </a:lnTo>
                      <a:lnTo>
                        <a:pt x="655992" y="1585970"/>
                      </a:lnTo>
                      <a:lnTo>
                        <a:pt x="678700" y="1603904"/>
                      </a:lnTo>
                      <a:lnTo>
                        <a:pt x="676768" y="1632823"/>
                      </a:lnTo>
                      <a:lnTo>
                        <a:pt x="700764" y="1616829"/>
                      </a:lnTo>
                      <a:lnTo>
                        <a:pt x="727660" y="1627492"/>
                      </a:lnTo>
                      <a:lnTo>
                        <a:pt x="719768" y="1599703"/>
                      </a:lnTo>
                      <a:lnTo>
                        <a:pt x="738289" y="1577408"/>
                      </a:lnTo>
                      <a:lnTo>
                        <a:pt x="709461" y="1576277"/>
                      </a:lnTo>
                      <a:close/>
                      <a:moveTo>
                        <a:pt x="1442881" y="1486119"/>
                      </a:moveTo>
                      <a:lnTo>
                        <a:pt x="1431951" y="1512757"/>
                      </a:lnTo>
                      <a:lnTo>
                        <a:pt x="1403822" y="1518854"/>
                      </a:lnTo>
                      <a:lnTo>
                        <a:pt x="1425843" y="1537468"/>
                      </a:lnTo>
                      <a:lnTo>
                        <a:pt x="1422950" y="1566031"/>
                      </a:lnTo>
                      <a:lnTo>
                        <a:pt x="1447382" y="1550947"/>
                      </a:lnTo>
                      <a:lnTo>
                        <a:pt x="1473743" y="1562501"/>
                      </a:lnTo>
                      <a:lnTo>
                        <a:pt x="1466992" y="1534580"/>
                      </a:lnTo>
                      <a:lnTo>
                        <a:pt x="1486119" y="1513078"/>
                      </a:lnTo>
                      <a:lnTo>
                        <a:pt x="1457347" y="1510831"/>
                      </a:lnTo>
                      <a:close/>
                      <a:moveTo>
                        <a:pt x="607391" y="1486119"/>
                      </a:moveTo>
                      <a:lnTo>
                        <a:pt x="592925" y="1510831"/>
                      </a:lnTo>
                      <a:lnTo>
                        <a:pt x="564153" y="1513078"/>
                      </a:lnTo>
                      <a:lnTo>
                        <a:pt x="583281" y="1534580"/>
                      </a:lnTo>
                      <a:lnTo>
                        <a:pt x="576530" y="1562501"/>
                      </a:lnTo>
                      <a:lnTo>
                        <a:pt x="602891" y="1550947"/>
                      </a:lnTo>
                      <a:lnTo>
                        <a:pt x="627323" y="1566031"/>
                      </a:lnTo>
                      <a:lnTo>
                        <a:pt x="624429" y="1537468"/>
                      </a:lnTo>
                      <a:lnTo>
                        <a:pt x="646450" y="1518854"/>
                      </a:lnTo>
                      <a:lnTo>
                        <a:pt x="618321" y="1512757"/>
                      </a:lnTo>
                      <a:close/>
                      <a:moveTo>
                        <a:pt x="1516404" y="1406208"/>
                      </a:moveTo>
                      <a:lnTo>
                        <a:pt x="1510318" y="1434337"/>
                      </a:lnTo>
                      <a:lnTo>
                        <a:pt x="1483734" y="1445267"/>
                      </a:lnTo>
                      <a:lnTo>
                        <a:pt x="1508557" y="1459894"/>
                      </a:lnTo>
                      <a:lnTo>
                        <a:pt x="1510799" y="1488505"/>
                      </a:lnTo>
                      <a:lnTo>
                        <a:pt x="1532098" y="1469378"/>
                      </a:lnTo>
                      <a:lnTo>
                        <a:pt x="1560123" y="1476289"/>
                      </a:lnTo>
                      <a:lnTo>
                        <a:pt x="1548593" y="1449768"/>
                      </a:lnTo>
                      <a:lnTo>
                        <a:pt x="1563646" y="1425336"/>
                      </a:lnTo>
                      <a:lnTo>
                        <a:pt x="1534980" y="1428229"/>
                      </a:lnTo>
                      <a:close/>
                      <a:moveTo>
                        <a:pt x="534575" y="1406208"/>
                      </a:moveTo>
                      <a:lnTo>
                        <a:pt x="515721" y="1428229"/>
                      </a:lnTo>
                      <a:lnTo>
                        <a:pt x="486627" y="1425336"/>
                      </a:lnTo>
                      <a:lnTo>
                        <a:pt x="502068" y="1449768"/>
                      </a:lnTo>
                      <a:lnTo>
                        <a:pt x="490203" y="1476289"/>
                      </a:lnTo>
                      <a:lnTo>
                        <a:pt x="518646" y="1469378"/>
                      </a:lnTo>
                      <a:lnTo>
                        <a:pt x="540263" y="1488505"/>
                      </a:lnTo>
                      <a:lnTo>
                        <a:pt x="542539" y="1459894"/>
                      </a:lnTo>
                      <a:lnTo>
                        <a:pt x="567731" y="1445267"/>
                      </a:lnTo>
                      <a:lnTo>
                        <a:pt x="540751" y="1434337"/>
                      </a:lnTo>
                      <a:close/>
                      <a:moveTo>
                        <a:pt x="1575022" y="1315562"/>
                      </a:moveTo>
                      <a:lnTo>
                        <a:pt x="1573729" y="1344390"/>
                      </a:lnTo>
                      <a:lnTo>
                        <a:pt x="1549333" y="1359851"/>
                      </a:lnTo>
                      <a:lnTo>
                        <a:pt x="1576476" y="1369836"/>
                      </a:lnTo>
                      <a:lnTo>
                        <a:pt x="1583584" y="1397859"/>
                      </a:lnTo>
                      <a:lnTo>
                        <a:pt x="1601518" y="1375151"/>
                      </a:lnTo>
                      <a:lnTo>
                        <a:pt x="1630437" y="1377084"/>
                      </a:lnTo>
                      <a:lnTo>
                        <a:pt x="1614443" y="1353087"/>
                      </a:lnTo>
                      <a:lnTo>
                        <a:pt x="1625106" y="1326192"/>
                      </a:lnTo>
                      <a:lnTo>
                        <a:pt x="1597156" y="1334083"/>
                      </a:lnTo>
                      <a:close/>
                      <a:moveTo>
                        <a:pt x="476443" y="1315562"/>
                      </a:moveTo>
                      <a:lnTo>
                        <a:pt x="454309" y="1334083"/>
                      </a:lnTo>
                      <a:lnTo>
                        <a:pt x="426359" y="1326192"/>
                      </a:lnTo>
                      <a:lnTo>
                        <a:pt x="437022" y="1353087"/>
                      </a:lnTo>
                      <a:lnTo>
                        <a:pt x="421027" y="1377084"/>
                      </a:lnTo>
                      <a:lnTo>
                        <a:pt x="449947" y="1375151"/>
                      </a:lnTo>
                      <a:lnTo>
                        <a:pt x="467880" y="1397859"/>
                      </a:lnTo>
                      <a:lnTo>
                        <a:pt x="474989" y="1369836"/>
                      </a:lnTo>
                      <a:lnTo>
                        <a:pt x="502131" y="1359851"/>
                      </a:lnTo>
                      <a:lnTo>
                        <a:pt x="477735" y="1344390"/>
                      </a:lnTo>
                      <a:close/>
                      <a:moveTo>
                        <a:pt x="1615811" y="1215374"/>
                      </a:moveTo>
                      <a:lnTo>
                        <a:pt x="1619717" y="1244168"/>
                      </a:lnTo>
                      <a:lnTo>
                        <a:pt x="1598234" y="1263580"/>
                      </a:lnTo>
                      <a:lnTo>
                        <a:pt x="1626878" y="1268757"/>
                      </a:lnTo>
                      <a:lnTo>
                        <a:pt x="1638921" y="1295286"/>
                      </a:lnTo>
                      <a:lnTo>
                        <a:pt x="1652755" y="1269727"/>
                      </a:lnTo>
                      <a:lnTo>
                        <a:pt x="1681724" y="1266492"/>
                      </a:lnTo>
                      <a:lnTo>
                        <a:pt x="1661543" y="1245624"/>
                      </a:lnTo>
                      <a:lnTo>
                        <a:pt x="1667402" y="1217154"/>
                      </a:lnTo>
                      <a:lnTo>
                        <a:pt x="1641200" y="1229771"/>
                      </a:lnTo>
                      <a:close/>
                      <a:moveTo>
                        <a:pt x="434713" y="1215374"/>
                      </a:moveTo>
                      <a:lnTo>
                        <a:pt x="409687" y="1229771"/>
                      </a:lnTo>
                      <a:lnTo>
                        <a:pt x="383858" y="1217154"/>
                      </a:lnTo>
                      <a:lnTo>
                        <a:pt x="389634" y="1245624"/>
                      </a:lnTo>
                      <a:lnTo>
                        <a:pt x="369741" y="1266492"/>
                      </a:lnTo>
                      <a:lnTo>
                        <a:pt x="398297" y="1269727"/>
                      </a:lnTo>
                      <a:lnTo>
                        <a:pt x="411932" y="1295286"/>
                      </a:lnTo>
                      <a:lnTo>
                        <a:pt x="423804" y="1268757"/>
                      </a:lnTo>
                      <a:lnTo>
                        <a:pt x="452038" y="1263580"/>
                      </a:lnTo>
                      <a:lnTo>
                        <a:pt x="430862" y="1244168"/>
                      </a:lnTo>
                      <a:close/>
                      <a:moveTo>
                        <a:pt x="1690261" y="1102066"/>
                      </a:moveTo>
                      <a:lnTo>
                        <a:pt x="1666655" y="1119015"/>
                      </a:lnTo>
                      <a:lnTo>
                        <a:pt x="1639493" y="1109237"/>
                      </a:lnTo>
                      <a:lnTo>
                        <a:pt x="1648223" y="1137104"/>
                      </a:lnTo>
                      <a:lnTo>
                        <a:pt x="1630438" y="1160082"/>
                      </a:lnTo>
                      <a:lnTo>
                        <a:pt x="1659541" y="1160245"/>
                      </a:lnTo>
                      <a:lnTo>
                        <a:pt x="1675871" y="1184363"/>
                      </a:lnTo>
                      <a:lnTo>
                        <a:pt x="1684926" y="1156659"/>
                      </a:lnTo>
                      <a:lnTo>
                        <a:pt x="1712735" y="1148511"/>
                      </a:lnTo>
                      <a:lnTo>
                        <a:pt x="1689453" y="1131237"/>
                      </a:lnTo>
                      <a:close/>
                      <a:moveTo>
                        <a:pt x="360012" y="1102066"/>
                      </a:moveTo>
                      <a:lnTo>
                        <a:pt x="360821" y="1131237"/>
                      </a:lnTo>
                      <a:lnTo>
                        <a:pt x="337538" y="1148511"/>
                      </a:lnTo>
                      <a:lnTo>
                        <a:pt x="365348" y="1156659"/>
                      </a:lnTo>
                      <a:lnTo>
                        <a:pt x="374402" y="1184363"/>
                      </a:lnTo>
                      <a:lnTo>
                        <a:pt x="390732" y="1160245"/>
                      </a:lnTo>
                      <a:lnTo>
                        <a:pt x="419835" y="1160082"/>
                      </a:lnTo>
                      <a:lnTo>
                        <a:pt x="402050" y="1137104"/>
                      </a:lnTo>
                      <a:lnTo>
                        <a:pt x="410781" y="1109237"/>
                      </a:lnTo>
                      <a:lnTo>
                        <a:pt x="383618" y="1119015"/>
                      </a:lnTo>
                      <a:close/>
                      <a:moveTo>
                        <a:pt x="1693366" y="985180"/>
                      </a:moveTo>
                      <a:lnTo>
                        <a:pt x="1673244" y="1006012"/>
                      </a:lnTo>
                      <a:lnTo>
                        <a:pt x="1644750" y="1001130"/>
                      </a:lnTo>
                      <a:lnTo>
                        <a:pt x="1658273" y="1027007"/>
                      </a:lnTo>
                      <a:lnTo>
                        <a:pt x="1644750" y="1052721"/>
                      </a:lnTo>
                      <a:lnTo>
                        <a:pt x="1673244" y="1047838"/>
                      </a:lnTo>
                      <a:lnTo>
                        <a:pt x="1693366" y="1068670"/>
                      </a:lnTo>
                      <a:lnTo>
                        <a:pt x="1697552" y="1039864"/>
                      </a:lnTo>
                      <a:lnTo>
                        <a:pt x="1723469" y="1027007"/>
                      </a:lnTo>
                      <a:lnTo>
                        <a:pt x="1697552" y="1013987"/>
                      </a:lnTo>
                      <a:close/>
                      <a:moveTo>
                        <a:pt x="357363" y="985180"/>
                      </a:moveTo>
                      <a:lnTo>
                        <a:pt x="353114" y="1013987"/>
                      </a:lnTo>
                      <a:lnTo>
                        <a:pt x="326803" y="1027007"/>
                      </a:lnTo>
                      <a:lnTo>
                        <a:pt x="353114" y="1039864"/>
                      </a:lnTo>
                      <a:lnTo>
                        <a:pt x="357363" y="1068670"/>
                      </a:lnTo>
                      <a:lnTo>
                        <a:pt x="377790" y="1047838"/>
                      </a:lnTo>
                      <a:lnTo>
                        <a:pt x="406715" y="1052721"/>
                      </a:lnTo>
                      <a:lnTo>
                        <a:pt x="392988" y="1027007"/>
                      </a:lnTo>
                      <a:lnTo>
                        <a:pt x="406715" y="1001130"/>
                      </a:lnTo>
                      <a:lnTo>
                        <a:pt x="377790" y="1006012"/>
                      </a:lnTo>
                      <a:close/>
                      <a:moveTo>
                        <a:pt x="1675871" y="869487"/>
                      </a:moveTo>
                      <a:lnTo>
                        <a:pt x="1659541" y="893558"/>
                      </a:lnTo>
                      <a:lnTo>
                        <a:pt x="1630438" y="893721"/>
                      </a:lnTo>
                      <a:lnTo>
                        <a:pt x="1648223" y="916816"/>
                      </a:lnTo>
                      <a:lnTo>
                        <a:pt x="1639493" y="944628"/>
                      </a:lnTo>
                      <a:lnTo>
                        <a:pt x="1666655" y="934707"/>
                      </a:lnTo>
                      <a:lnTo>
                        <a:pt x="1690261" y="951784"/>
                      </a:lnTo>
                      <a:lnTo>
                        <a:pt x="1689453" y="922509"/>
                      </a:lnTo>
                      <a:lnTo>
                        <a:pt x="1712735" y="905269"/>
                      </a:lnTo>
                      <a:lnTo>
                        <a:pt x="1684926" y="897136"/>
                      </a:lnTo>
                      <a:close/>
                      <a:moveTo>
                        <a:pt x="374402" y="869487"/>
                      </a:moveTo>
                      <a:lnTo>
                        <a:pt x="365348" y="897136"/>
                      </a:lnTo>
                      <a:lnTo>
                        <a:pt x="337538" y="905269"/>
                      </a:lnTo>
                      <a:lnTo>
                        <a:pt x="360821" y="922509"/>
                      </a:lnTo>
                      <a:lnTo>
                        <a:pt x="360012" y="951784"/>
                      </a:lnTo>
                      <a:lnTo>
                        <a:pt x="383618" y="934707"/>
                      </a:lnTo>
                      <a:lnTo>
                        <a:pt x="410781" y="944628"/>
                      </a:lnTo>
                      <a:lnTo>
                        <a:pt x="402050" y="916816"/>
                      </a:lnTo>
                      <a:lnTo>
                        <a:pt x="419835" y="893721"/>
                      </a:lnTo>
                      <a:lnTo>
                        <a:pt x="390732" y="893558"/>
                      </a:lnTo>
                      <a:close/>
                      <a:moveTo>
                        <a:pt x="1638921" y="759758"/>
                      </a:moveTo>
                      <a:lnTo>
                        <a:pt x="1626878" y="785892"/>
                      </a:lnTo>
                      <a:lnTo>
                        <a:pt x="1598234" y="790991"/>
                      </a:lnTo>
                      <a:lnTo>
                        <a:pt x="1619717" y="810272"/>
                      </a:lnTo>
                      <a:lnTo>
                        <a:pt x="1615811" y="838477"/>
                      </a:lnTo>
                      <a:lnTo>
                        <a:pt x="1641200" y="824295"/>
                      </a:lnTo>
                      <a:lnTo>
                        <a:pt x="1667402" y="836724"/>
                      </a:lnTo>
                      <a:lnTo>
                        <a:pt x="1661543" y="808838"/>
                      </a:lnTo>
                      <a:lnTo>
                        <a:pt x="1681724" y="788123"/>
                      </a:lnTo>
                      <a:lnTo>
                        <a:pt x="1652755" y="784936"/>
                      </a:lnTo>
                      <a:close/>
                      <a:moveTo>
                        <a:pt x="411932" y="759758"/>
                      </a:moveTo>
                      <a:lnTo>
                        <a:pt x="398297" y="784936"/>
                      </a:lnTo>
                      <a:lnTo>
                        <a:pt x="369741" y="788123"/>
                      </a:lnTo>
                      <a:lnTo>
                        <a:pt x="389634" y="808838"/>
                      </a:lnTo>
                      <a:lnTo>
                        <a:pt x="383858" y="836724"/>
                      </a:lnTo>
                      <a:lnTo>
                        <a:pt x="409687" y="824295"/>
                      </a:lnTo>
                      <a:lnTo>
                        <a:pt x="434713" y="838477"/>
                      </a:lnTo>
                      <a:lnTo>
                        <a:pt x="430862" y="810272"/>
                      </a:lnTo>
                      <a:lnTo>
                        <a:pt x="452038" y="790991"/>
                      </a:lnTo>
                      <a:lnTo>
                        <a:pt x="423804" y="785892"/>
                      </a:lnTo>
                      <a:close/>
                      <a:moveTo>
                        <a:pt x="1583584" y="655992"/>
                      </a:moveTo>
                      <a:lnTo>
                        <a:pt x="1576476" y="684421"/>
                      </a:lnTo>
                      <a:lnTo>
                        <a:pt x="1549333" y="694551"/>
                      </a:lnTo>
                      <a:lnTo>
                        <a:pt x="1573729" y="710236"/>
                      </a:lnTo>
                      <a:lnTo>
                        <a:pt x="1575022" y="739482"/>
                      </a:lnTo>
                      <a:lnTo>
                        <a:pt x="1597156" y="720856"/>
                      </a:lnTo>
                      <a:lnTo>
                        <a:pt x="1625106" y="728699"/>
                      </a:lnTo>
                      <a:lnTo>
                        <a:pt x="1614443" y="701577"/>
                      </a:lnTo>
                      <a:lnTo>
                        <a:pt x="1630437" y="677232"/>
                      </a:lnTo>
                      <a:lnTo>
                        <a:pt x="1601518" y="679029"/>
                      </a:lnTo>
                      <a:close/>
                      <a:moveTo>
                        <a:pt x="467880" y="655992"/>
                      </a:moveTo>
                      <a:lnTo>
                        <a:pt x="449947" y="679029"/>
                      </a:lnTo>
                      <a:lnTo>
                        <a:pt x="421027" y="677232"/>
                      </a:lnTo>
                      <a:lnTo>
                        <a:pt x="437022" y="701577"/>
                      </a:lnTo>
                      <a:lnTo>
                        <a:pt x="426359" y="728699"/>
                      </a:lnTo>
                      <a:lnTo>
                        <a:pt x="454309" y="720856"/>
                      </a:lnTo>
                      <a:lnTo>
                        <a:pt x="476443" y="739482"/>
                      </a:lnTo>
                      <a:lnTo>
                        <a:pt x="477735" y="710236"/>
                      </a:lnTo>
                      <a:lnTo>
                        <a:pt x="502131" y="694551"/>
                      </a:lnTo>
                      <a:lnTo>
                        <a:pt x="474989" y="684421"/>
                      </a:lnTo>
                      <a:close/>
                      <a:moveTo>
                        <a:pt x="1510799" y="565346"/>
                      </a:moveTo>
                      <a:lnTo>
                        <a:pt x="1508557" y="594118"/>
                      </a:lnTo>
                      <a:lnTo>
                        <a:pt x="1483734" y="608584"/>
                      </a:lnTo>
                      <a:lnTo>
                        <a:pt x="1510318" y="619514"/>
                      </a:lnTo>
                      <a:lnTo>
                        <a:pt x="1516404" y="647643"/>
                      </a:lnTo>
                      <a:lnTo>
                        <a:pt x="1534980" y="625783"/>
                      </a:lnTo>
                      <a:lnTo>
                        <a:pt x="1563646" y="628516"/>
                      </a:lnTo>
                      <a:lnTo>
                        <a:pt x="1548593" y="604084"/>
                      </a:lnTo>
                      <a:lnTo>
                        <a:pt x="1560123" y="577723"/>
                      </a:lnTo>
                      <a:lnTo>
                        <a:pt x="1532098" y="584474"/>
                      </a:lnTo>
                      <a:close/>
                      <a:moveTo>
                        <a:pt x="540263" y="565346"/>
                      </a:moveTo>
                      <a:lnTo>
                        <a:pt x="518646" y="584474"/>
                      </a:lnTo>
                      <a:lnTo>
                        <a:pt x="490203" y="577723"/>
                      </a:lnTo>
                      <a:lnTo>
                        <a:pt x="502068" y="604084"/>
                      </a:lnTo>
                      <a:lnTo>
                        <a:pt x="486627" y="628516"/>
                      </a:lnTo>
                      <a:lnTo>
                        <a:pt x="515721" y="625783"/>
                      </a:lnTo>
                      <a:lnTo>
                        <a:pt x="534575" y="647643"/>
                      </a:lnTo>
                      <a:lnTo>
                        <a:pt x="540751" y="619514"/>
                      </a:lnTo>
                      <a:lnTo>
                        <a:pt x="567731" y="608584"/>
                      </a:lnTo>
                      <a:lnTo>
                        <a:pt x="542539" y="594118"/>
                      </a:lnTo>
                      <a:close/>
                      <a:moveTo>
                        <a:pt x="1422950" y="487819"/>
                      </a:moveTo>
                      <a:lnTo>
                        <a:pt x="1425843" y="516913"/>
                      </a:lnTo>
                      <a:lnTo>
                        <a:pt x="1403822" y="535766"/>
                      </a:lnTo>
                      <a:lnTo>
                        <a:pt x="1431951" y="541943"/>
                      </a:lnTo>
                      <a:lnTo>
                        <a:pt x="1442881" y="568923"/>
                      </a:lnTo>
                      <a:lnTo>
                        <a:pt x="1457347" y="543731"/>
                      </a:lnTo>
                      <a:lnTo>
                        <a:pt x="1486119" y="541618"/>
                      </a:lnTo>
                      <a:lnTo>
                        <a:pt x="1466992" y="519838"/>
                      </a:lnTo>
                      <a:lnTo>
                        <a:pt x="1473743" y="491557"/>
                      </a:lnTo>
                      <a:lnTo>
                        <a:pt x="1447382" y="503260"/>
                      </a:lnTo>
                      <a:close/>
                      <a:moveTo>
                        <a:pt x="627323" y="487819"/>
                      </a:moveTo>
                      <a:lnTo>
                        <a:pt x="602891" y="503260"/>
                      </a:lnTo>
                      <a:lnTo>
                        <a:pt x="576530" y="491557"/>
                      </a:lnTo>
                      <a:lnTo>
                        <a:pt x="583281" y="519838"/>
                      </a:lnTo>
                      <a:lnTo>
                        <a:pt x="564153" y="541618"/>
                      </a:lnTo>
                      <a:lnTo>
                        <a:pt x="592925" y="543731"/>
                      </a:lnTo>
                      <a:lnTo>
                        <a:pt x="607391" y="568923"/>
                      </a:lnTo>
                      <a:lnTo>
                        <a:pt x="618321" y="541943"/>
                      </a:lnTo>
                      <a:lnTo>
                        <a:pt x="646450" y="535766"/>
                      </a:lnTo>
                      <a:lnTo>
                        <a:pt x="624429" y="516913"/>
                      </a:lnTo>
                      <a:close/>
                      <a:moveTo>
                        <a:pt x="1374698" y="421027"/>
                      </a:moveTo>
                      <a:lnTo>
                        <a:pt x="1350701" y="437421"/>
                      </a:lnTo>
                      <a:lnTo>
                        <a:pt x="1323806" y="426437"/>
                      </a:lnTo>
                      <a:lnTo>
                        <a:pt x="1331697" y="454798"/>
                      </a:lnTo>
                      <a:lnTo>
                        <a:pt x="1313176" y="477422"/>
                      </a:lnTo>
                      <a:lnTo>
                        <a:pt x="1342004" y="478569"/>
                      </a:lnTo>
                      <a:lnTo>
                        <a:pt x="1357465" y="503324"/>
                      </a:lnTo>
                      <a:lnTo>
                        <a:pt x="1367450" y="475783"/>
                      </a:lnTo>
                      <a:lnTo>
                        <a:pt x="1395473" y="468569"/>
                      </a:lnTo>
                      <a:lnTo>
                        <a:pt x="1372765" y="450372"/>
                      </a:lnTo>
                      <a:close/>
                      <a:moveTo>
                        <a:pt x="676768" y="421027"/>
                      </a:moveTo>
                      <a:lnTo>
                        <a:pt x="678700" y="450372"/>
                      </a:lnTo>
                      <a:lnTo>
                        <a:pt x="655992" y="468569"/>
                      </a:lnTo>
                      <a:lnTo>
                        <a:pt x="684015" y="475783"/>
                      </a:lnTo>
                      <a:lnTo>
                        <a:pt x="694000" y="503324"/>
                      </a:lnTo>
                      <a:lnTo>
                        <a:pt x="709461" y="478569"/>
                      </a:lnTo>
                      <a:lnTo>
                        <a:pt x="738289" y="477422"/>
                      </a:lnTo>
                      <a:lnTo>
                        <a:pt x="719768" y="454798"/>
                      </a:lnTo>
                      <a:lnTo>
                        <a:pt x="727660" y="426437"/>
                      </a:lnTo>
                      <a:lnTo>
                        <a:pt x="700764" y="437421"/>
                      </a:lnTo>
                      <a:close/>
                      <a:moveTo>
                        <a:pt x="1264106" y="369741"/>
                      </a:moveTo>
                      <a:lnTo>
                        <a:pt x="1243238" y="389883"/>
                      </a:lnTo>
                      <a:lnTo>
                        <a:pt x="1214768" y="384035"/>
                      </a:lnTo>
                      <a:lnTo>
                        <a:pt x="1227385" y="410187"/>
                      </a:lnTo>
                      <a:lnTo>
                        <a:pt x="1212988" y="435526"/>
                      </a:lnTo>
                      <a:lnTo>
                        <a:pt x="1241782" y="431628"/>
                      </a:lnTo>
                      <a:lnTo>
                        <a:pt x="1261194" y="453231"/>
                      </a:lnTo>
                      <a:lnTo>
                        <a:pt x="1266371" y="424481"/>
                      </a:lnTo>
                      <a:lnTo>
                        <a:pt x="1292900" y="412461"/>
                      </a:lnTo>
                      <a:lnTo>
                        <a:pt x="1267341" y="398654"/>
                      </a:lnTo>
                      <a:close/>
                      <a:moveTo>
                        <a:pt x="786930" y="369741"/>
                      </a:moveTo>
                      <a:lnTo>
                        <a:pt x="783743" y="398654"/>
                      </a:lnTo>
                      <a:lnTo>
                        <a:pt x="758565" y="412461"/>
                      </a:lnTo>
                      <a:lnTo>
                        <a:pt x="784699" y="424481"/>
                      </a:lnTo>
                      <a:lnTo>
                        <a:pt x="789798" y="453231"/>
                      </a:lnTo>
                      <a:lnTo>
                        <a:pt x="808920" y="431628"/>
                      </a:lnTo>
                      <a:lnTo>
                        <a:pt x="837284" y="435526"/>
                      </a:lnTo>
                      <a:lnTo>
                        <a:pt x="823102" y="410187"/>
                      </a:lnTo>
                      <a:lnTo>
                        <a:pt x="835531" y="384035"/>
                      </a:lnTo>
                      <a:lnTo>
                        <a:pt x="807486" y="389883"/>
                      </a:lnTo>
                      <a:close/>
                      <a:moveTo>
                        <a:pt x="1146715" y="338730"/>
                      </a:moveTo>
                      <a:lnTo>
                        <a:pt x="1129724" y="362174"/>
                      </a:lnTo>
                      <a:lnTo>
                        <a:pt x="1100873" y="361204"/>
                      </a:lnTo>
                      <a:lnTo>
                        <a:pt x="1117703" y="384810"/>
                      </a:lnTo>
                      <a:lnTo>
                        <a:pt x="1108086" y="412135"/>
                      </a:lnTo>
                      <a:lnTo>
                        <a:pt x="1135334" y="403242"/>
                      </a:lnTo>
                      <a:lnTo>
                        <a:pt x="1158095" y="421027"/>
                      </a:lnTo>
                      <a:lnTo>
                        <a:pt x="1158255" y="391924"/>
                      </a:lnTo>
                      <a:lnTo>
                        <a:pt x="1181977" y="375594"/>
                      </a:lnTo>
                      <a:lnTo>
                        <a:pt x="1154729" y="366540"/>
                      </a:lnTo>
                      <a:close/>
                      <a:moveTo>
                        <a:pt x="904076" y="338730"/>
                      </a:moveTo>
                      <a:lnTo>
                        <a:pt x="895943" y="366540"/>
                      </a:lnTo>
                      <a:lnTo>
                        <a:pt x="868294" y="375594"/>
                      </a:lnTo>
                      <a:lnTo>
                        <a:pt x="892365" y="391924"/>
                      </a:lnTo>
                      <a:lnTo>
                        <a:pt x="892528" y="421027"/>
                      </a:lnTo>
                      <a:lnTo>
                        <a:pt x="915623" y="403242"/>
                      </a:lnTo>
                      <a:lnTo>
                        <a:pt x="943272" y="412135"/>
                      </a:lnTo>
                      <a:lnTo>
                        <a:pt x="933514" y="384810"/>
                      </a:lnTo>
                      <a:lnTo>
                        <a:pt x="950591" y="361204"/>
                      </a:lnTo>
                      <a:lnTo>
                        <a:pt x="921316" y="362174"/>
                      </a:lnTo>
                      <a:close/>
                      <a:moveTo>
                        <a:pt x="1025815" y="327996"/>
                      </a:moveTo>
                      <a:lnTo>
                        <a:pt x="1012795" y="353914"/>
                      </a:lnTo>
                      <a:lnTo>
                        <a:pt x="983988" y="358099"/>
                      </a:lnTo>
                      <a:lnTo>
                        <a:pt x="1004820" y="378222"/>
                      </a:lnTo>
                      <a:lnTo>
                        <a:pt x="999938" y="406715"/>
                      </a:lnTo>
                      <a:lnTo>
                        <a:pt x="1025815" y="393193"/>
                      </a:lnTo>
                      <a:lnTo>
                        <a:pt x="1051529" y="406715"/>
                      </a:lnTo>
                      <a:lnTo>
                        <a:pt x="1046646" y="378222"/>
                      </a:lnTo>
                      <a:lnTo>
                        <a:pt x="1067478" y="358099"/>
                      </a:lnTo>
                      <a:lnTo>
                        <a:pt x="1038672" y="353914"/>
                      </a:lnTo>
                      <a:close/>
                      <a:moveTo>
                        <a:pt x="1021692" y="287509"/>
                      </a:moveTo>
                      <a:cubicBezTo>
                        <a:pt x="1423168" y="287509"/>
                        <a:pt x="1748629" y="612970"/>
                        <a:pt x="1748629" y="1014446"/>
                      </a:cubicBezTo>
                      <a:cubicBezTo>
                        <a:pt x="1748629" y="1415922"/>
                        <a:pt x="1423168" y="1741383"/>
                        <a:pt x="1021692" y="1741383"/>
                      </a:cubicBezTo>
                      <a:cubicBezTo>
                        <a:pt x="620216" y="1741383"/>
                        <a:pt x="294755" y="1415922"/>
                        <a:pt x="294755" y="1014446"/>
                      </a:cubicBezTo>
                      <a:cubicBezTo>
                        <a:pt x="294755" y="612970"/>
                        <a:pt x="620216" y="287509"/>
                        <a:pt x="1021692" y="287509"/>
                      </a:cubicBezTo>
                      <a:close/>
                      <a:moveTo>
                        <a:pt x="1021692" y="204488"/>
                      </a:moveTo>
                      <a:cubicBezTo>
                        <a:pt x="574365" y="204488"/>
                        <a:pt x="211734" y="567119"/>
                        <a:pt x="211734" y="1014446"/>
                      </a:cubicBezTo>
                      <a:cubicBezTo>
                        <a:pt x="211734" y="1461773"/>
                        <a:pt x="574365" y="1824404"/>
                        <a:pt x="1021692" y="1824404"/>
                      </a:cubicBezTo>
                      <a:cubicBezTo>
                        <a:pt x="1469019" y="1824404"/>
                        <a:pt x="1831650" y="1461773"/>
                        <a:pt x="1831650" y="1014446"/>
                      </a:cubicBezTo>
                      <a:cubicBezTo>
                        <a:pt x="1831650" y="567119"/>
                        <a:pt x="1469019" y="204488"/>
                        <a:pt x="1021692" y="204488"/>
                      </a:cubicBezTo>
                      <a:close/>
                      <a:moveTo>
                        <a:pt x="1025813" y="0"/>
                      </a:moveTo>
                      <a:cubicBezTo>
                        <a:pt x="1111997" y="0"/>
                        <a:pt x="1184463" y="105835"/>
                        <a:pt x="1266289" y="127810"/>
                      </a:cubicBezTo>
                      <a:cubicBezTo>
                        <a:pt x="1348922" y="149947"/>
                        <a:pt x="1464641" y="94848"/>
                        <a:pt x="1538559" y="137667"/>
                      </a:cubicBezTo>
                      <a:cubicBezTo>
                        <a:pt x="1611992" y="180001"/>
                        <a:pt x="1622160" y="307811"/>
                        <a:pt x="1683167" y="368727"/>
                      </a:cubicBezTo>
                      <a:cubicBezTo>
                        <a:pt x="1744012" y="429804"/>
                        <a:pt x="1871674" y="439984"/>
                        <a:pt x="1913958" y="513503"/>
                      </a:cubicBezTo>
                      <a:cubicBezTo>
                        <a:pt x="1956728" y="587507"/>
                        <a:pt x="1901693" y="703360"/>
                        <a:pt x="1923803" y="786089"/>
                      </a:cubicBezTo>
                      <a:cubicBezTo>
                        <a:pt x="1945753" y="868011"/>
                        <a:pt x="2051465" y="940722"/>
                        <a:pt x="2051465" y="1027006"/>
                      </a:cubicBezTo>
                      <a:cubicBezTo>
                        <a:pt x="2051465" y="1113290"/>
                        <a:pt x="1945753" y="1186001"/>
                        <a:pt x="1923803" y="1267923"/>
                      </a:cubicBezTo>
                      <a:cubicBezTo>
                        <a:pt x="1901693" y="1350490"/>
                        <a:pt x="1956728" y="1466343"/>
                        <a:pt x="1913958" y="1540347"/>
                      </a:cubicBezTo>
                      <a:cubicBezTo>
                        <a:pt x="1871674" y="1613866"/>
                        <a:pt x="1744012" y="1624046"/>
                        <a:pt x="1683167" y="1685123"/>
                      </a:cubicBezTo>
                      <a:cubicBezTo>
                        <a:pt x="1622160" y="1746201"/>
                        <a:pt x="1611992" y="1873849"/>
                        <a:pt x="1538559" y="1916345"/>
                      </a:cubicBezTo>
                      <a:cubicBezTo>
                        <a:pt x="1464641" y="1959002"/>
                        <a:pt x="1348922" y="1903903"/>
                        <a:pt x="1266289" y="1926040"/>
                      </a:cubicBezTo>
                      <a:cubicBezTo>
                        <a:pt x="1184463" y="1948015"/>
                        <a:pt x="1111997" y="2053850"/>
                        <a:pt x="1025813" y="2053850"/>
                      </a:cubicBezTo>
                      <a:cubicBezTo>
                        <a:pt x="939468" y="2053850"/>
                        <a:pt x="867003" y="1948015"/>
                        <a:pt x="785177" y="1926040"/>
                      </a:cubicBezTo>
                      <a:cubicBezTo>
                        <a:pt x="702543" y="1903903"/>
                        <a:pt x="586825" y="1959002"/>
                        <a:pt x="512907" y="1916345"/>
                      </a:cubicBezTo>
                      <a:cubicBezTo>
                        <a:pt x="439473" y="1873849"/>
                        <a:pt x="429305" y="1746201"/>
                        <a:pt x="368299" y="1685123"/>
                      </a:cubicBezTo>
                      <a:cubicBezTo>
                        <a:pt x="307454" y="1624046"/>
                        <a:pt x="179792" y="1613866"/>
                        <a:pt x="137507" y="1540347"/>
                      </a:cubicBezTo>
                      <a:cubicBezTo>
                        <a:pt x="94738" y="1466343"/>
                        <a:pt x="149773" y="1350490"/>
                        <a:pt x="127662" y="1267923"/>
                      </a:cubicBezTo>
                      <a:cubicBezTo>
                        <a:pt x="105713" y="1186001"/>
                        <a:pt x="0" y="1113290"/>
                        <a:pt x="0" y="1027006"/>
                      </a:cubicBezTo>
                      <a:cubicBezTo>
                        <a:pt x="0" y="940722"/>
                        <a:pt x="105713" y="868011"/>
                        <a:pt x="127662" y="786089"/>
                      </a:cubicBezTo>
                      <a:cubicBezTo>
                        <a:pt x="149773" y="703360"/>
                        <a:pt x="94738" y="587507"/>
                        <a:pt x="137507" y="513503"/>
                      </a:cubicBezTo>
                      <a:cubicBezTo>
                        <a:pt x="179792" y="439984"/>
                        <a:pt x="307454" y="429804"/>
                        <a:pt x="368299" y="368727"/>
                      </a:cubicBezTo>
                      <a:cubicBezTo>
                        <a:pt x="429305" y="307811"/>
                        <a:pt x="439473" y="180001"/>
                        <a:pt x="512907" y="137667"/>
                      </a:cubicBezTo>
                      <a:cubicBezTo>
                        <a:pt x="586825" y="94848"/>
                        <a:pt x="702543" y="149947"/>
                        <a:pt x="785177" y="127810"/>
                      </a:cubicBezTo>
                      <a:cubicBezTo>
                        <a:pt x="867003" y="105835"/>
                        <a:pt x="939468" y="0"/>
                        <a:pt x="1025813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352"/>
                <p:cNvSpPr>
                  <a:spLocks/>
                </p:cNvSpPr>
                <p:nvPr/>
              </p:nvSpPr>
              <p:spPr bwMode="auto">
                <a:xfrm>
                  <a:off x="7016283" y="5434671"/>
                  <a:ext cx="865909" cy="1238035"/>
                </a:xfrm>
                <a:custGeom>
                  <a:avLst/>
                  <a:gdLst>
                    <a:gd name="T0" fmla="*/ 3234 w 5365"/>
                    <a:gd name="T1" fmla="*/ 384 h 7662"/>
                    <a:gd name="T2" fmla="*/ 1547 w 5365"/>
                    <a:gd name="T3" fmla="*/ 444 h 7662"/>
                    <a:gd name="T4" fmla="*/ 57 w 5365"/>
                    <a:gd name="T5" fmla="*/ 1235 h 7662"/>
                    <a:gd name="T6" fmla="*/ 0 w 5365"/>
                    <a:gd name="T7" fmla="*/ 1233 h 7662"/>
                    <a:gd name="T8" fmla="*/ 1722 w 5365"/>
                    <a:gd name="T9" fmla="*/ 7662 h 7662"/>
                    <a:gd name="T10" fmla="*/ 3185 w 5365"/>
                    <a:gd name="T11" fmla="*/ 5834 h 7662"/>
                    <a:gd name="T12" fmla="*/ 5365 w 5365"/>
                    <a:gd name="T13" fmla="*/ 6686 h 7662"/>
                    <a:gd name="T14" fmla="*/ 3574 w 5365"/>
                    <a:gd name="T15" fmla="*/ 0 h 7662"/>
                    <a:gd name="T16" fmla="*/ 3234 w 5365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5" h="7662">
                      <a:moveTo>
                        <a:pt x="3234" y="384"/>
                      </a:moveTo>
                      <a:cubicBezTo>
                        <a:pt x="2776" y="649"/>
                        <a:pt x="2059" y="307"/>
                        <a:pt x="1547" y="444"/>
                      </a:cubicBezTo>
                      <a:cubicBezTo>
                        <a:pt x="1040" y="580"/>
                        <a:pt x="591" y="1235"/>
                        <a:pt x="57" y="1235"/>
                      </a:cubicBezTo>
                      <a:cubicBezTo>
                        <a:pt x="37" y="1235"/>
                        <a:pt x="18" y="1235"/>
                        <a:pt x="0" y="1233"/>
                      </a:cubicBezTo>
                      <a:lnTo>
                        <a:pt x="1722" y="7662"/>
                      </a:lnTo>
                      <a:lnTo>
                        <a:pt x="3185" y="5834"/>
                      </a:lnTo>
                      <a:lnTo>
                        <a:pt x="5365" y="6686"/>
                      </a:lnTo>
                      <a:lnTo>
                        <a:pt x="3574" y="0"/>
                      </a:lnTo>
                      <a:cubicBezTo>
                        <a:pt x="3485" y="162"/>
                        <a:pt x="3380" y="300"/>
                        <a:pt x="3234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353"/>
                <p:cNvSpPr>
                  <a:spLocks/>
                </p:cNvSpPr>
                <p:nvPr/>
              </p:nvSpPr>
              <p:spPr bwMode="auto">
                <a:xfrm>
                  <a:off x="6076425" y="5434671"/>
                  <a:ext cx="865909" cy="1238035"/>
                </a:xfrm>
                <a:custGeom>
                  <a:avLst/>
                  <a:gdLst>
                    <a:gd name="T0" fmla="*/ 2131 w 5366"/>
                    <a:gd name="T1" fmla="*/ 384 h 7662"/>
                    <a:gd name="T2" fmla="*/ 3818 w 5366"/>
                    <a:gd name="T3" fmla="*/ 444 h 7662"/>
                    <a:gd name="T4" fmla="*/ 5308 w 5366"/>
                    <a:gd name="T5" fmla="*/ 1235 h 7662"/>
                    <a:gd name="T6" fmla="*/ 5366 w 5366"/>
                    <a:gd name="T7" fmla="*/ 1233 h 7662"/>
                    <a:gd name="T8" fmla="*/ 3643 w 5366"/>
                    <a:gd name="T9" fmla="*/ 7662 h 7662"/>
                    <a:gd name="T10" fmla="*/ 2180 w 5366"/>
                    <a:gd name="T11" fmla="*/ 5834 h 7662"/>
                    <a:gd name="T12" fmla="*/ 0 w 5366"/>
                    <a:gd name="T13" fmla="*/ 6686 h 7662"/>
                    <a:gd name="T14" fmla="*/ 1791 w 5366"/>
                    <a:gd name="T15" fmla="*/ 0 h 7662"/>
                    <a:gd name="T16" fmla="*/ 2131 w 5366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6" h="7662">
                      <a:moveTo>
                        <a:pt x="2131" y="384"/>
                      </a:moveTo>
                      <a:cubicBezTo>
                        <a:pt x="2589" y="649"/>
                        <a:pt x="3306" y="307"/>
                        <a:pt x="3818" y="444"/>
                      </a:cubicBezTo>
                      <a:cubicBezTo>
                        <a:pt x="4325" y="580"/>
                        <a:pt x="4774" y="1235"/>
                        <a:pt x="5308" y="1235"/>
                      </a:cubicBezTo>
                      <a:cubicBezTo>
                        <a:pt x="5328" y="1235"/>
                        <a:pt x="5347" y="1235"/>
                        <a:pt x="5366" y="1233"/>
                      </a:cubicBezTo>
                      <a:lnTo>
                        <a:pt x="3643" y="7662"/>
                      </a:lnTo>
                      <a:lnTo>
                        <a:pt x="2180" y="5834"/>
                      </a:lnTo>
                      <a:lnTo>
                        <a:pt x="0" y="6686"/>
                      </a:lnTo>
                      <a:lnTo>
                        <a:pt x="1791" y="0"/>
                      </a:lnTo>
                      <a:cubicBezTo>
                        <a:pt x="1880" y="162"/>
                        <a:pt x="1985" y="300"/>
                        <a:pt x="2131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256" name="TextBox 255"/>
            <p:cNvSpPr txBox="1"/>
            <p:nvPr/>
          </p:nvSpPr>
          <p:spPr>
            <a:xfrm>
              <a:off x="10930603" y="2261582"/>
              <a:ext cx="49885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$110</a:t>
              </a:r>
              <a:endParaRPr lang="en-US" sz="1200" dirty="0"/>
            </a:p>
          </p:txBody>
        </p:sp>
      </p:grpSp>
      <p:grpSp>
        <p:nvGrpSpPr>
          <p:cNvPr id="492" name="Group 491"/>
          <p:cNvGrpSpPr/>
          <p:nvPr/>
        </p:nvGrpSpPr>
        <p:grpSpPr>
          <a:xfrm>
            <a:off x="3525492" y="3333397"/>
            <a:ext cx="1014380" cy="1010106"/>
            <a:chOff x="3525492" y="3333397"/>
            <a:chExt cx="1014380" cy="1010106"/>
          </a:xfrm>
        </p:grpSpPr>
        <p:grpSp>
          <p:nvGrpSpPr>
            <p:cNvPr id="467" name="Clipboard"/>
            <p:cNvGrpSpPr>
              <a:grpSpLocks noChangeAspect="1"/>
            </p:cNvGrpSpPr>
            <p:nvPr>
              <p:custDataLst>
                <p:tags r:id="rId49"/>
              </p:custDataLst>
            </p:nvPr>
          </p:nvGrpSpPr>
          <p:grpSpPr bwMode="auto">
            <a:xfrm>
              <a:off x="3837298" y="3333397"/>
              <a:ext cx="397684" cy="542925"/>
              <a:chOff x="8" y="8"/>
              <a:chExt cx="345" cy="471"/>
            </a:xfrm>
            <a:solidFill>
              <a:schemeClr val="accent1"/>
            </a:solidFill>
          </p:grpSpPr>
          <p:sp>
            <p:nvSpPr>
              <p:cNvPr id="468" name="Clipboard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8" y="8"/>
                <a:ext cx="345" cy="471"/>
              </a:xfrm>
              <a:custGeom>
                <a:avLst/>
                <a:gdLst>
                  <a:gd name="T0" fmla="*/ 387 w 918"/>
                  <a:gd name="T1" fmla="*/ 0 h 1250"/>
                  <a:gd name="T2" fmla="*/ 361 w 918"/>
                  <a:gd name="T3" fmla="*/ 33 h 1250"/>
                  <a:gd name="T4" fmla="*/ 361 w 918"/>
                  <a:gd name="T5" fmla="*/ 54 h 1250"/>
                  <a:gd name="T6" fmla="*/ 281 w 918"/>
                  <a:gd name="T7" fmla="*/ 54 h 1250"/>
                  <a:gd name="T8" fmla="*/ 248 w 918"/>
                  <a:gd name="T9" fmla="*/ 85 h 1250"/>
                  <a:gd name="T10" fmla="*/ 248 w 918"/>
                  <a:gd name="T11" fmla="*/ 86 h 1250"/>
                  <a:gd name="T12" fmla="*/ 252 w 918"/>
                  <a:gd name="T13" fmla="*/ 213 h 1250"/>
                  <a:gd name="T14" fmla="*/ 204 w 918"/>
                  <a:gd name="T15" fmla="*/ 354 h 1250"/>
                  <a:gd name="T16" fmla="*/ 224 w 918"/>
                  <a:gd name="T17" fmla="*/ 395 h 1250"/>
                  <a:gd name="T18" fmla="*/ 235 w 918"/>
                  <a:gd name="T19" fmla="*/ 397 h 1250"/>
                  <a:gd name="T20" fmla="*/ 659 w 918"/>
                  <a:gd name="T21" fmla="*/ 397 h 1250"/>
                  <a:gd name="T22" fmla="*/ 691 w 918"/>
                  <a:gd name="T23" fmla="*/ 364 h 1250"/>
                  <a:gd name="T24" fmla="*/ 691 w 918"/>
                  <a:gd name="T25" fmla="*/ 358 h 1250"/>
                  <a:gd name="T26" fmla="*/ 671 w 918"/>
                  <a:gd name="T27" fmla="*/ 249 h 1250"/>
                  <a:gd name="T28" fmla="*/ 772 w 918"/>
                  <a:gd name="T29" fmla="*/ 249 h 1250"/>
                  <a:gd name="T30" fmla="*/ 853 w 918"/>
                  <a:gd name="T31" fmla="*/ 338 h 1250"/>
                  <a:gd name="T32" fmla="*/ 853 w 918"/>
                  <a:gd name="T33" fmla="*/ 1105 h 1250"/>
                  <a:gd name="T34" fmla="*/ 772 w 918"/>
                  <a:gd name="T35" fmla="*/ 1186 h 1250"/>
                  <a:gd name="T36" fmla="*/ 145 w 918"/>
                  <a:gd name="T37" fmla="*/ 1186 h 1250"/>
                  <a:gd name="T38" fmla="*/ 64 w 918"/>
                  <a:gd name="T39" fmla="*/ 1105 h 1250"/>
                  <a:gd name="T40" fmla="*/ 64 w 918"/>
                  <a:gd name="T41" fmla="*/ 338 h 1250"/>
                  <a:gd name="T42" fmla="*/ 145 w 918"/>
                  <a:gd name="T43" fmla="*/ 249 h 1250"/>
                  <a:gd name="T44" fmla="*/ 178 w 918"/>
                  <a:gd name="T45" fmla="*/ 218 h 1250"/>
                  <a:gd name="T46" fmla="*/ 147 w 918"/>
                  <a:gd name="T47" fmla="*/ 185 h 1250"/>
                  <a:gd name="T48" fmla="*/ 145 w 918"/>
                  <a:gd name="T49" fmla="*/ 185 h 1250"/>
                  <a:gd name="T50" fmla="*/ 0 w 918"/>
                  <a:gd name="T51" fmla="*/ 338 h 1250"/>
                  <a:gd name="T52" fmla="*/ 0 w 918"/>
                  <a:gd name="T53" fmla="*/ 1105 h 1250"/>
                  <a:gd name="T54" fmla="*/ 145 w 918"/>
                  <a:gd name="T55" fmla="*/ 1250 h 1250"/>
                  <a:gd name="T56" fmla="*/ 773 w 918"/>
                  <a:gd name="T57" fmla="*/ 1250 h 1250"/>
                  <a:gd name="T58" fmla="*/ 918 w 918"/>
                  <a:gd name="T59" fmla="*/ 1105 h 1250"/>
                  <a:gd name="T60" fmla="*/ 918 w 918"/>
                  <a:gd name="T61" fmla="*/ 338 h 1250"/>
                  <a:gd name="T62" fmla="*/ 773 w 918"/>
                  <a:gd name="T63" fmla="*/ 185 h 1250"/>
                  <a:gd name="T64" fmla="*/ 633 w 918"/>
                  <a:gd name="T65" fmla="*/ 185 h 1250"/>
                  <a:gd name="T66" fmla="*/ 600 w 918"/>
                  <a:gd name="T67" fmla="*/ 217 h 1250"/>
                  <a:gd name="T68" fmla="*/ 601 w 918"/>
                  <a:gd name="T69" fmla="*/ 223 h 1250"/>
                  <a:gd name="T70" fmla="*/ 621 w 918"/>
                  <a:gd name="T71" fmla="*/ 332 h 1250"/>
                  <a:gd name="T72" fmla="*/ 280 w 918"/>
                  <a:gd name="T73" fmla="*/ 332 h 1250"/>
                  <a:gd name="T74" fmla="*/ 316 w 918"/>
                  <a:gd name="T75" fmla="*/ 228 h 1250"/>
                  <a:gd name="T76" fmla="*/ 317 w 918"/>
                  <a:gd name="T77" fmla="*/ 216 h 1250"/>
                  <a:gd name="T78" fmla="*/ 314 w 918"/>
                  <a:gd name="T79" fmla="*/ 118 h 1250"/>
                  <a:gd name="T80" fmla="*/ 393 w 918"/>
                  <a:gd name="T81" fmla="*/ 118 h 1250"/>
                  <a:gd name="T82" fmla="*/ 425 w 918"/>
                  <a:gd name="T83" fmla="*/ 85 h 1250"/>
                  <a:gd name="T84" fmla="*/ 425 w 918"/>
                  <a:gd name="T85" fmla="*/ 64 h 1250"/>
                  <a:gd name="T86" fmla="*/ 464 w 918"/>
                  <a:gd name="T87" fmla="*/ 64 h 1250"/>
                  <a:gd name="T88" fmla="*/ 464 w 918"/>
                  <a:gd name="T89" fmla="*/ 85 h 1250"/>
                  <a:gd name="T90" fmla="*/ 496 w 918"/>
                  <a:gd name="T91" fmla="*/ 118 h 1250"/>
                  <a:gd name="T92" fmla="*/ 616 w 918"/>
                  <a:gd name="T93" fmla="*/ 118 h 1250"/>
                  <a:gd name="T94" fmla="*/ 649 w 918"/>
                  <a:gd name="T95" fmla="*/ 86 h 1250"/>
                  <a:gd name="T96" fmla="*/ 618 w 918"/>
                  <a:gd name="T97" fmla="*/ 54 h 1250"/>
                  <a:gd name="T98" fmla="*/ 616 w 918"/>
                  <a:gd name="T99" fmla="*/ 54 h 1250"/>
                  <a:gd name="T100" fmla="*/ 529 w 918"/>
                  <a:gd name="T101" fmla="*/ 54 h 1250"/>
                  <a:gd name="T102" fmla="*/ 529 w 918"/>
                  <a:gd name="T103" fmla="*/ 33 h 1250"/>
                  <a:gd name="T104" fmla="*/ 497 w 918"/>
                  <a:gd name="T105" fmla="*/ 0 h 1250"/>
                  <a:gd name="T106" fmla="*/ 496 w 918"/>
                  <a:gd name="T107" fmla="*/ 0 h 1250"/>
                  <a:gd name="T108" fmla="*/ 393 w 918"/>
                  <a:gd name="T109" fmla="*/ 0 h 1250"/>
                  <a:gd name="T110" fmla="*/ 390 w 918"/>
                  <a:gd name="T111" fmla="*/ 0 h 1250"/>
                  <a:gd name="T112" fmla="*/ 387 w 918"/>
                  <a:gd name="T113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18" h="1250">
                    <a:moveTo>
                      <a:pt x="387" y="0"/>
                    </a:moveTo>
                    <a:cubicBezTo>
                      <a:pt x="371" y="3"/>
                      <a:pt x="360" y="17"/>
                      <a:pt x="361" y="33"/>
                    </a:cubicBezTo>
                    <a:lnTo>
                      <a:pt x="361" y="54"/>
                    </a:lnTo>
                    <a:lnTo>
                      <a:pt x="281" y="54"/>
                    </a:lnTo>
                    <a:cubicBezTo>
                      <a:pt x="263" y="53"/>
                      <a:pt x="248" y="67"/>
                      <a:pt x="248" y="85"/>
                    </a:cubicBezTo>
                    <a:lnTo>
                      <a:pt x="248" y="86"/>
                    </a:lnTo>
                    <a:lnTo>
                      <a:pt x="252" y="213"/>
                    </a:lnTo>
                    <a:lnTo>
                      <a:pt x="204" y="354"/>
                    </a:lnTo>
                    <a:cubicBezTo>
                      <a:pt x="199" y="371"/>
                      <a:pt x="208" y="389"/>
                      <a:pt x="224" y="395"/>
                    </a:cubicBezTo>
                    <a:cubicBezTo>
                      <a:pt x="228" y="396"/>
                      <a:pt x="231" y="397"/>
                      <a:pt x="235" y="397"/>
                    </a:cubicBezTo>
                    <a:lnTo>
                      <a:pt x="659" y="397"/>
                    </a:lnTo>
                    <a:cubicBezTo>
                      <a:pt x="677" y="397"/>
                      <a:pt x="691" y="382"/>
                      <a:pt x="691" y="364"/>
                    </a:cubicBezTo>
                    <a:cubicBezTo>
                      <a:pt x="691" y="362"/>
                      <a:pt x="691" y="360"/>
                      <a:pt x="691" y="358"/>
                    </a:cubicBezTo>
                    <a:lnTo>
                      <a:pt x="671" y="249"/>
                    </a:lnTo>
                    <a:lnTo>
                      <a:pt x="772" y="249"/>
                    </a:lnTo>
                    <a:cubicBezTo>
                      <a:pt x="815" y="249"/>
                      <a:pt x="853" y="292"/>
                      <a:pt x="853" y="338"/>
                    </a:cubicBezTo>
                    <a:lnTo>
                      <a:pt x="853" y="1105"/>
                    </a:lnTo>
                    <a:cubicBezTo>
                      <a:pt x="853" y="1150"/>
                      <a:pt x="818" y="1186"/>
                      <a:pt x="772" y="1186"/>
                    </a:cubicBezTo>
                    <a:lnTo>
                      <a:pt x="145" y="1186"/>
                    </a:lnTo>
                    <a:cubicBezTo>
                      <a:pt x="100" y="1186"/>
                      <a:pt x="64" y="1150"/>
                      <a:pt x="64" y="1105"/>
                    </a:cubicBezTo>
                    <a:lnTo>
                      <a:pt x="64" y="338"/>
                    </a:lnTo>
                    <a:cubicBezTo>
                      <a:pt x="64" y="292"/>
                      <a:pt x="103" y="249"/>
                      <a:pt x="145" y="249"/>
                    </a:cubicBezTo>
                    <a:cubicBezTo>
                      <a:pt x="163" y="250"/>
                      <a:pt x="178" y="235"/>
                      <a:pt x="178" y="218"/>
                    </a:cubicBezTo>
                    <a:cubicBezTo>
                      <a:pt x="179" y="200"/>
                      <a:pt x="164" y="185"/>
                      <a:pt x="147" y="185"/>
                    </a:cubicBezTo>
                    <a:lnTo>
                      <a:pt x="145" y="185"/>
                    </a:lnTo>
                    <a:cubicBezTo>
                      <a:pt x="63" y="185"/>
                      <a:pt x="0" y="258"/>
                      <a:pt x="0" y="338"/>
                    </a:cubicBezTo>
                    <a:lnTo>
                      <a:pt x="0" y="1105"/>
                    </a:lnTo>
                    <a:cubicBezTo>
                      <a:pt x="0" y="1185"/>
                      <a:pt x="65" y="1250"/>
                      <a:pt x="145" y="1250"/>
                    </a:cubicBezTo>
                    <a:lnTo>
                      <a:pt x="773" y="1250"/>
                    </a:lnTo>
                    <a:cubicBezTo>
                      <a:pt x="852" y="1250"/>
                      <a:pt x="918" y="1185"/>
                      <a:pt x="918" y="1105"/>
                    </a:cubicBezTo>
                    <a:lnTo>
                      <a:pt x="918" y="338"/>
                    </a:lnTo>
                    <a:cubicBezTo>
                      <a:pt x="918" y="258"/>
                      <a:pt x="855" y="185"/>
                      <a:pt x="773" y="185"/>
                    </a:cubicBezTo>
                    <a:lnTo>
                      <a:pt x="633" y="185"/>
                    </a:lnTo>
                    <a:cubicBezTo>
                      <a:pt x="615" y="185"/>
                      <a:pt x="600" y="199"/>
                      <a:pt x="600" y="217"/>
                    </a:cubicBezTo>
                    <a:cubicBezTo>
                      <a:pt x="600" y="219"/>
                      <a:pt x="601" y="221"/>
                      <a:pt x="601" y="223"/>
                    </a:cubicBezTo>
                    <a:lnTo>
                      <a:pt x="621" y="332"/>
                    </a:lnTo>
                    <a:lnTo>
                      <a:pt x="280" y="332"/>
                    </a:lnTo>
                    <a:lnTo>
                      <a:pt x="316" y="228"/>
                    </a:lnTo>
                    <a:cubicBezTo>
                      <a:pt x="317" y="225"/>
                      <a:pt x="317" y="220"/>
                      <a:pt x="317" y="216"/>
                    </a:cubicBezTo>
                    <a:lnTo>
                      <a:pt x="314" y="118"/>
                    </a:lnTo>
                    <a:lnTo>
                      <a:pt x="393" y="118"/>
                    </a:lnTo>
                    <a:cubicBezTo>
                      <a:pt x="411" y="118"/>
                      <a:pt x="425" y="103"/>
                      <a:pt x="425" y="85"/>
                    </a:cubicBezTo>
                    <a:lnTo>
                      <a:pt x="425" y="64"/>
                    </a:lnTo>
                    <a:lnTo>
                      <a:pt x="464" y="64"/>
                    </a:lnTo>
                    <a:lnTo>
                      <a:pt x="464" y="85"/>
                    </a:lnTo>
                    <a:cubicBezTo>
                      <a:pt x="464" y="103"/>
                      <a:pt x="478" y="118"/>
                      <a:pt x="496" y="118"/>
                    </a:cubicBezTo>
                    <a:lnTo>
                      <a:pt x="616" y="118"/>
                    </a:lnTo>
                    <a:cubicBezTo>
                      <a:pt x="634" y="118"/>
                      <a:pt x="649" y="104"/>
                      <a:pt x="649" y="86"/>
                    </a:cubicBezTo>
                    <a:cubicBezTo>
                      <a:pt x="650" y="69"/>
                      <a:pt x="635" y="54"/>
                      <a:pt x="618" y="54"/>
                    </a:cubicBezTo>
                    <a:lnTo>
                      <a:pt x="616" y="54"/>
                    </a:lnTo>
                    <a:lnTo>
                      <a:pt x="529" y="54"/>
                    </a:lnTo>
                    <a:lnTo>
                      <a:pt x="529" y="33"/>
                    </a:lnTo>
                    <a:cubicBezTo>
                      <a:pt x="529" y="15"/>
                      <a:pt x="515" y="0"/>
                      <a:pt x="497" y="0"/>
                    </a:cubicBezTo>
                    <a:lnTo>
                      <a:pt x="496" y="0"/>
                    </a:lnTo>
                    <a:lnTo>
                      <a:pt x="393" y="0"/>
                    </a:lnTo>
                    <a:cubicBezTo>
                      <a:pt x="392" y="0"/>
                      <a:pt x="391" y="0"/>
                      <a:pt x="390" y="0"/>
                    </a:cubicBezTo>
                    <a:cubicBezTo>
                      <a:pt x="389" y="0"/>
                      <a:pt x="388" y="0"/>
                      <a:pt x="387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9" name="Clipboard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76" y="195"/>
                <a:ext cx="203" cy="218"/>
              </a:xfrm>
              <a:custGeom>
                <a:avLst/>
                <a:gdLst>
                  <a:gd name="T0" fmla="*/ 507 w 541"/>
                  <a:gd name="T1" fmla="*/ 0 h 579"/>
                  <a:gd name="T2" fmla="*/ 502 w 541"/>
                  <a:gd name="T3" fmla="*/ 1 h 579"/>
                  <a:gd name="T4" fmla="*/ 485 w 541"/>
                  <a:gd name="T5" fmla="*/ 10 h 579"/>
                  <a:gd name="T6" fmla="*/ 202 w 541"/>
                  <a:gd name="T7" fmla="*/ 293 h 579"/>
                  <a:gd name="T8" fmla="*/ 55 w 541"/>
                  <a:gd name="T9" fmla="*/ 147 h 579"/>
                  <a:gd name="T10" fmla="*/ 9 w 541"/>
                  <a:gd name="T11" fmla="*/ 147 h 579"/>
                  <a:gd name="T12" fmla="*/ 0 w 541"/>
                  <a:gd name="T13" fmla="*/ 168 h 579"/>
                  <a:gd name="T14" fmla="*/ 0 w 541"/>
                  <a:gd name="T15" fmla="*/ 373 h 579"/>
                  <a:gd name="T16" fmla="*/ 10 w 541"/>
                  <a:gd name="T17" fmla="*/ 396 h 579"/>
                  <a:gd name="T18" fmla="*/ 179 w 541"/>
                  <a:gd name="T19" fmla="*/ 566 h 579"/>
                  <a:gd name="T20" fmla="*/ 225 w 541"/>
                  <a:gd name="T21" fmla="*/ 566 h 579"/>
                  <a:gd name="T22" fmla="*/ 225 w 541"/>
                  <a:gd name="T23" fmla="*/ 566 h 579"/>
                  <a:gd name="T24" fmla="*/ 431 w 541"/>
                  <a:gd name="T25" fmla="*/ 361 h 579"/>
                  <a:gd name="T26" fmla="*/ 431 w 541"/>
                  <a:gd name="T27" fmla="*/ 315 h 579"/>
                  <a:gd name="T28" fmla="*/ 385 w 541"/>
                  <a:gd name="T29" fmla="*/ 315 h 579"/>
                  <a:gd name="T30" fmla="*/ 202 w 541"/>
                  <a:gd name="T31" fmla="*/ 497 h 579"/>
                  <a:gd name="T32" fmla="*/ 65 w 541"/>
                  <a:gd name="T33" fmla="*/ 360 h 579"/>
                  <a:gd name="T34" fmla="*/ 65 w 541"/>
                  <a:gd name="T35" fmla="*/ 246 h 579"/>
                  <a:gd name="T36" fmla="*/ 179 w 541"/>
                  <a:gd name="T37" fmla="*/ 361 h 579"/>
                  <a:gd name="T38" fmla="*/ 225 w 541"/>
                  <a:gd name="T39" fmla="*/ 361 h 579"/>
                  <a:gd name="T40" fmla="*/ 225 w 541"/>
                  <a:gd name="T41" fmla="*/ 361 h 579"/>
                  <a:gd name="T42" fmla="*/ 477 w 541"/>
                  <a:gd name="T43" fmla="*/ 110 h 579"/>
                  <a:gd name="T44" fmla="*/ 477 w 541"/>
                  <a:gd name="T45" fmla="*/ 237 h 579"/>
                  <a:gd name="T46" fmla="*/ 508 w 541"/>
                  <a:gd name="T47" fmla="*/ 270 h 579"/>
                  <a:gd name="T48" fmla="*/ 541 w 541"/>
                  <a:gd name="T49" fmla="*/ 239 h 579"/>
                  <a:gd name="T50" fmla="*/ 541 w 541"/>
                  <a:gd name="T51" fmla="*/ 237 h 579"/>
                  <a:gd name="T52" fmla="*/ 541 w 541"/>
                  <a:gd name="T53" fmla="*/ 33 h 579"/>
                  <a:gd name="T54" fmla="*/ 509 w 541"/>
                  <a:gd name="T55" fmla="*/ 0 h 579"/>
                  <a:gd name="T56" fmla="*/ 507 w 541"/>
                  <a:gd name="T57" fmla="*/ 0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41" h="579">
                    <a:moveTo>
                      <a:pt x="507" y="0"/>
                    </a:moveTo>
                    <a:cubicBezTo>
                      <a:pt x="505" y="0"/>
                      <a:pt x="504" y="1"/>
                      <a:pt x="502" y="1"/>
                    </a:cubicBezTo>
                    <a:cubicBezTo>
                      <a:pt x="496" y="2"/>
                      <a:pt x="490" y="5"/>
                      <a:pt x="485" y="10"/>
                    </a:cubicBezTo>
                    <a:lnTo>
                      <a:pt x="202" y="293"/>
                    </a:lnTo>
                    <a:lnTo>
                      <a:pt x="55" y="147"/>
                    </a:lnTo>
                    <a:cubicBezTo>
                      <a:pt x="42" y="134"/>
                      <a:pt x="22" y="134"/>
                      <a:pt x="9" y="147"/>
                    </a:cubicBezTo>
                    <a:cubicBezTo>
                      <a:pt x="4" y="153"/>
                      <a:pt x="1" y="160"/>
                      <a:pt x="0" y="168"/>
                    </a:cubicBezTo>
                    <a:lnTo>
                      <a:pt x="0" y="373"/>
                    </a:lnTo>
                    <a:cubicBezTo>
                      <a:pt x="0" y="381"/>
                      <a:pt x="4" y="390"/>
                      <a:pt x="10" y="396"/>
                    </a:cubicBezTo>
                    <a:lnTo>
                      <a:pt x="179" y="566"/>
                    </a:lnTo>
                    <a:cubicBezTo>
                      <a:pt x="192" y="579"/>
                      <a:pt x="212" y="579"/>
                      <a:pt x="225" y="566"/>
                    </a:cubicBezTo>
                    <a:cubicBezTo>
                      <a:pt x="225" y="566"/>
                      <a:pt x="225" y="566"/>
                      <a:pt x="225" y="566"/>
                    </a:cubicBezTo>
                    <a:lnTo>
                      <a:pt x="431" y="361"/>
                    </a:lnTo>
                    <a:cubicBezTo>
                      <a:pt x="443" y="348"/>
                      <a:pt x="443" y="327"/>
                      <a:pt x="431" y="315"/>
                    </a:cubicBezTo>
                    <a:cubicBezTo>
                      <a:pt x="418" y="302"/>
                      <a:pt x="398" y="302"/>
                      <a:pt x="385" y="315"/>
                    </a:cubicBezTo>
                    <a:lnTo>
                      <a:pt x="202" y="497"/>
                    </a:lnTo>
                    <a:lnTo>
                      <a:pt x="65" y="360"/>
                    </a:lnTo>
                    <a:lnTo>
                      <a:pt x="65" y="246"/>
                    </a:lnTo>
                    <a:lnTo>
                      <a:pt x="179" y="361"/>
                    </a:lnTo>
                    <a:cubicBezTo>
                      <a:pt x="192" y="373"/>
                      <a:pt x="212" y="373"/>
                      <a:pt x="225" y="361"/>
                    </a:cubicBezTo>
                    <a:cubicBezTo>
                      <a:pt x="225" y="361"/>
                      <a:pt x="225" y="361"/>
                      <a:pt x="225" y="361"/>
                    </a:cubicBezTo>
                    <a:lnTo>
                      <a:pt x="477" y="110"/>
                    </a:lnTo>
                    <a:lnTo>
                      <a:pt x="477" y="237"/>
                    </a:lnTo>
                    <a:cubicBezTo>
                      <a:pt x="476" y="255"/>
                      <a:pt x="490" y="270"/>
                      <a:pt x="508" y="270"/>
                    </a:cubicBezTo>
                    <a:cubicBezTo>
                      <a:pt x="526" y="270"/>
                      <a:pt x="541" y="256"/>
                      <a:pt x="541" y="239"/>
                    </a:cubicBezTo>
                    <a:lnTo>
                      <a:pt x="541" y="237"/>
                    </a:lnTo>
                    <a:lnTo>
                      <a:pt x="541" y="33"/>
                    </a:lnTo>
                    <a:cubicBezTo>
                      <a:pt x="541" y="15"/>
                      <a:pt x="527" y="0"/>
                      <a:pt x="509" y="0"/>
                    </a:cubicBezTo>
                    <a:cubicBezTo>
                      <a:pt x="509" y="0"/>
                      <a:pt x="508" y="0"/>
                      <a:pt x="507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91" name="TextBox 490"/>
            <p:cNvSpPr txBox="1"/>
            <p:nvPr/>
          </p:nvSpPr>
          <p:spPr>
            <a:xfrm>
              <a:off x="3525492" y="3974171"/>
              <a:ext cx="10143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 smtClean="0"/>
                <a:t>Acceptar</a:t>
              </a:r>
              <a:endParaRPr lang="en-US" dirty="0"/>
            </a:p>
          </p:txBody>
        </p:sp>
      </p:grpSp>
      <p:grpSp>
        <p:nvGrpSpPr>
          <p:cNvPr id="513" name="Group 512"/>
          <p:cNvGrpSpPr/>
          <p:nvPr/>
        </p:nvGrpSpPr>
        <p:grpSpPr>
          <a:xfrm>
            <a:off x="1829907" y="4321339"/>
            <a:ext cx="829266" cy="1010106"/>
            <a:chOff x="3525492" y="3333397"/>
            <a:chExt cx="829266" cy="1010106"/>
          </a:xfrm>
        </p:grpSpPr>
        <p:grpSp>
          <p:nvGrpSpPr>
            <p:cNvPr id="514" name="Clipboard"/>
            <p:cNvGrpSpPr>
              <a:grpSpLocks noChangeAspect="1"/>
            </p:cNvGrpSpPr>
            <p:nvPr>
              <p:custDataLst>
                <p:tags r:id="rId46"/>
              </p:custDataLst>
            </p:nvPr>
          </p:nvGrpSpPr>
          <p:grpSpPr bwMode="auto">
            <a:xfrm>
              <a:off x="3837298" y="3333397"/>
              <a:ext cx="397684" cy="542925"/>
              <a:chOff x="8" y="8"/>
              <a:chExt cx="345" cy="471"/>
            </a:xfrm>
            <a:solidFill>
              <a:schemeClr val="accent1"/>
            </a:solidFill>
          </p:grpSpPr>
          <p:sp>
            <p:nvSpPr>
              <p:cNvPr id="516" name="Clipboard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8" y="8"/>
                <a:ext cx="345" cy="471"/>
              </a:xfrm>
              <a:custGeom>
                <a:avLst/>
                <a:gdLst>
                  <a:gd name="T0" fmla="*/ 387 w 918"/>
                  <a:gd name="T1" fmla="*/ 0 h 1250"/>
                  <a:gd name="T2" fmla="*/ 361 w 918"/>
                  <a:gd name="T3" fmla="*/ 33 h 1250"/>
                  <a:gd name="T4" fmla="*/ 361 w 918"/>
                  <a:gd name="T5" fmla="*/ 54 h 1250"/>
                  <a:gd name="T6" fmla="*/ 281 w 918"/>
                  <a:gd name="T7" fmla="*/ 54 h 1250"/>
                  <a:gd name="T8" fmla="*/ 248 w 918"/>
                  <a:gd name="T9" fmla="*/ 85 h 1250"/>
                  <a:gd name="T10" fmla="*/ 248 w 918"/>
                  <a:gd name="T11" fmla="*/ 86 h 1250"/>
                  <a:gd name="T12" fmla="*/ 252 w 918"/>
                  <a:gd name="T13" fmla="*/ 213 h 1250"/>
                  <a:gd name="T14" fmla="*/ 204 w 918"/>
                  <a:gd name="T15" fmla="*/ 354 h 1250"/>
                  <a:gd name="T16" fmla="*/ 224 w 918"/>
                  <a:gd name="T17" fmla="*/ 395 h 1250"/>
                  <a:gd name="T18" fmla="*/ 235 w 918"/>
                  <a:gd name="T19" fmla="*/ 397 h 1250"/>
                  <a:gd name="T20" fmla="*/ 659 w 918"/>
                  <a:gd name="T21" fmla="*/ 397 h 1250"/>
                  <a:gd name="T22" fmla="*/ 691 w 918"/>
                  <a:gd name="T23" fmla="*/ 364 h 1250"/>
                  <a:gd name="T24" fmla="*/ 691 w 918"/>
                  <a:gd name="T25" fmla="*/ 358 h 1250"/>
                  <a:gd name="T26" fmla="*/ 671 w 918"/>
                  <a:gd name="T27" fmla="*/ 249 h 1250"/>
                  <a:gd name="T28" fmla="*/ 772 w 918"/>
                  <a:gd name="T29" fmla="*/ 249 h 1250"/>
                  <a:gd name="T30" fmla="*/ 853 w 918"/>
                  <a:gd name="T31" fmla="*/ 338 h 1250"/>
                  <a:gd name="T32" fmla="*/ 853 w 918"/>
                  <a:gd name="T33" fmla="*/ 1105 h 1250"/>
                  <a:gd name="T34" fmla="*/ 772 w 918"/>
                  <a:gd name="T35" fmla="*/ 1186 h 1250"/>
                  <a:gd name="T36" fmla="*/ 145 w 918"/>
                  <a:gd name="T37" fmla="*/ 1186 h 1250"/>
                  <a:gd name="T38" fmla="*/ 64 w 918"/>
                  <a:gd name="T39" fmla="*/ 1105 h 1250"/>
                  <a:gd name="T40" fmla="*/ 64 w 918"/>
                  <a:gd name="T41" fmla="*/ 338 h 1250"/>
                  <a:gd name="T42" fmla="*/ 145 w 918"/>
                  <a:gd name="T43" fmla="*/ 249 h 1250"/>
                  <a:gd name="T44" fmla="*/ 178 w 918"/>
                  <a:gd name="T45" fmla="*/ 218 h 1250"/>
                  <a:gd name="T46" fmla="*/ 147 w 918"/>
                  <a:gd name="T47" fmla="*/ 185 h 1250"/>
                  <a:gd name="T48" fmla="*/ 145 w 918"/>
                  <a:gd name="T49" fmla="*/ 185 h 1250"/>
                  <a:gd name="T50" fmla="*/ 0 w 918"/>
                  <a:gd name="T51" fmla="*/ 338 h 1250"/>
                  <a:gd name="T52" fmla="*/ 0 w 918"/>
                  <a:gd name="T53" fmla="*/ 1105 h 1250"/>
                  <a:gd name="T54" fmla="*/ 145 w 918"/>
                  <a:gd name="T55" fmla="*/ 1250 h 1250"/>
                  <a:gd name="T56" fmla="*/ 773 w 918"/>
                  <a:gd name="T57" fmla="*/ 1250 h 1250"/>
                  <a:gd name="T58" fmla="*/ 918 w 918"/>
                  <a:gd name="T59" fmla="*/ 1105 h 1250"/>
                  <a:gd name="T60" fmla="*/ 918 w 918"/>
                  <a:gd name="T61" fmla="*/ 338 h 1250"/>
                  <a:gd name="T62" fmla="*/ 773 w 918"/>
                  <a:gd name="T63" fmla="*/ 185 h 1250"/>
                  <a:gd name="T64" fmla="*/ 633 w 918"/>
                  <a:gd name="T65" fmla="*/ 185 h 1250"/>
                  <a:gd name="T66" fmla="*/ 600 w 918"/>
                  <a:gd name="T67" fmla="*/ 217 h 1250"/>
                  <a:gd name="T68" fmla="*/ 601 w 918"/>
                  <a:gd name="T69" fmla="*/ 223 h 1250"/>
                  <a:gd name="T70" fmla="*/ 621 w 918"/>
                  <a:gd name="T71" fmla="*/ 332 h 1250"/>
                  <a:gd name="T72" fmla="*/ 280 w 918"/>
                  <a:gd name="T73" fmla="*/ 332 h 1250"/>
                  <a:gd name="T74" fmla="*/ 316 w 918"/>
                  <a:gd name="T75" fmla="*/ 228 h 1250"/>
                  <a:gd name="T76" fmla="*/ 317 w 918"/>
                  <a:gd name="T77" fmla="*/ 216 h 1250"/>
                  <a:gd name="T78" fmla="*/ 314 w 918"/>
                  <a:gd name="T79" fmla="*/ 118 h 1250"/>
                  <a:gd name="T80" fmla="*/ 393 w 918"/>
                  <a:gd name="T81" fmla="*/ 118 h 1250"/>
                  <a:gd name="T82" fmla="*/ 425 w 918"/>
                  <a:gd name="T83" fmla="*/ 85 h 1250"/>
                  <a:gd name="T84" fmla="*/ 425 w 918"/>
                  <a:gd name="T85" fmla="*/ 64 h 1250"/>
                  <a:gd name="T86" fmla="*/ 464 w 918"/>
                  <a:gd name="T87" fmla="*/ 64 h 1250"/>
                  <a:gd name="T88" fmla="*/ 464 w 918"/>
                  <a:gd name="T89" fmla="*/ 85 h 1250"/>
                  <a:gd name="T90" fmla="*/ 496 w 918"/>
                  <a:gd name="T91" fmla="*/ 118 h 1250"/>
                  <a:gd name="T92" fmla="*/ 616 w 918"/>
                  <a:gd name="T93" fmla="*/ 118 h 1250"/>
                  <a:gd name="T94" fmla="*/ 649 w 918"/>
                  <a:gd name="T95" fmla="*/ 86 h 1250"/>
                  <a:gd name="T96" fmla="*/ 618 w 918"/>
                  <a:gd name="T97" fmla="*/ 54 h 1250"/>
                  <a:gd name="T98" fmla="*/ 616 w 918"/>
                  <a:gd name="T99" fmla="*/ 54 h 1250"/>
                  <a:gd name="T100" fmla="*/ 529 w 918"/>
                  <a:gd name="T101" fmla="*/ 54 h 1250"/>
                  <a:gd name="T102" fmla="*/ 529 w 918"/>
                  <a:gd name="T103" fmla="*/ 33 h 1250"/>
                  <a:gd name="T104" fmla="*/ 497 w 918"/>
                  <a:gd name="T105" fmla="*/ 0 h 1250"/>
                  <a:gd name="T106" fmla="*/ 496 w 918"/>
                  <a:gd name="T107" fmla="*/ 0 h 1250"/>
                  <a:gd name="T108" fmla="*/ 393 w 918"/>
                  <a:gd name="T109" fmla="*/ 0 h 1250"/>
                  <a:gd name="T110" fmla="*/ 390 w 918"/>
                  <a:gd name="T111" fmla="*/ 0 h 1250"/>
                  <a:gd name="T112" fmla="*/ 387 w 918"/>
                  <a:gd name="T113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18" h="1250">
                    <a:moveTo>
                      <a:pt x="387" y="0"/>
                    </a:moveTo>
                    <a:cubicBezTo>
                      <a:pt x="371" y="3"/>
                      <a:pt x="360" y="17"/>
                      <a:pt x="361" y="33"/>
                    </a:cubicBezTo>
                    <a:lnTo>
                      <a:pt x="361" y="54"/>
                    </a:lnTo>
                    <a:lnTo>
                      <a:pt x="281" y="54"/>
                    </a:lnTo>
                    <a:cubicBezTo>
                      <a:pt x="263" y="53"/>
                      <a:pt x="248" y="67"/>
                      <a:pt x="248" y="85"/>
                    </a:cubicBezTo>
                    <a:lnTo>
                      <a:pt x="248" y="86"/>
                    </a:lnTo>
                    <a:lnTo>
                      <a:pt x="252" y="213"/>
                    </a:lnTo>
                    <a:lnTo>
                      <a:pt x="204" y="354"/>
                    </a:lnTo>
                    <a:cubicBezTo>
                      <a:pt x="199" y="371"/>
                      <a:pt x="208" y="389"/>
                      <a:pt x="224" y="395"/>
                    </a:cubicBezTo>
                    <a:cubicBezTo>
                      <a:pt x="228" y="396"/>
                      <a:pt x="231" y="397"/>
                      <a:pt x="235" y="397"/>
                    </a:cubicBezTo>
                    <a:lnTo>
                      <a:pt x="659" y="397"/>
                    </a:lnTo>
                    <a:cubicBezTo>
                      <a:pt x="677" y="397"/>
                      <a:pt x="691" y="382"/>
                      <a:pt x="691" y="364"/>
                    </a:cubicBezTo>
                    <a:cubicBezTo>
                      <a:pt x="691" y="362"/>
                      <a:pt x="691" y="360"/>
                      <a:pt x="691" y="358"/>
                    </a:cubicBezTo>
                    <a:lnTo>
                      <a:pt x="671" y="249"/>
                    </a:lnTo>
                    <a:lnTo>
                      <a:pt x="772" y="249"/>
                    </a:lnTo>
                    <a:cubicBezTo>
                      <a:pt x="815" y="249"/>
                      <a:pt x="853" y="292"/>
                      <a:pt x="853" y="338"/>
                    </a:cubicBezTo>
                    <a:lnTo>
                      <a:pt x="853" y="1105"/>
                    </a:lnTo>
                    <a:cubicBezTo>
                      <a:pt x="853" y="1150"/>
                      <a:pt x="818" y="1186"/>
                      <a:pt x="772" y="1186"/>
                    </a:cubicBezTo>
                    <a:lnTo>
                      <a:pt x="145" y="1186"/>
                    </a:lnTo>
                    <a:cubicBezTo>
                      <a:pt x="100" y="1186"/>
                      <a:pt x="64" y="1150"/>
                      <a:pt x="64" y="1105"/>
                    </a:cubicBezTo>
                    <a:lnTo>
                      <a:pt x="64" y="338"/>
                    </a:lnTo>
                    <a:cubicBezTo>
                      <a:pt x="64" y="292"/>
                      <a:pt x="103" y="249"/>
                      <a:pt x="145" y="249"/>
                    </a:cubicBezTo>
                    <a:cubicBezTo>
                      <a:pt x="163" y="250"/>
                      <a:pt x="178" y="235"/>
                      <a:pt x="178" y="218"/>
                    </a:cubicBezTo>
                    <a:cubicBezTo>
                      <a:pt x="179" y="200"/>
                      <a:pt x="164" y="185"/>
                      <a:pt x="147" y="185"/>
                    </a:cubicBezTo>
                    <a:lnTo>
                      <a:pt x="145" y="185"/>
                    </a:lnTo>
                    <a:cubicBezTo>
                      <a:pt x="63" y="185"/>
                      <a:pt x="0" y="258"/>
                      <a:pt x="0" y="338"/>
                    </a:cubicBezTo>
                    <a:lnTo>
                      <a:pt x="0" y="1105"/>
                    </a:lnTo>
                    <a:cubicBezTo>
                      <a:pt x="0" y="1185"/>
                      <a:pt x="65" y="1250"/>
                      <a:pt x="145" y="1250"/>
                    </a:cubicBezTo>
                    <a:lnTo>
                      <a:pt x="773" y="1250"/>
                    </a:lnTo>
                    <a:cubicBezTo>
                      <a:pt x="852" y="1250"/>
                      <a:pt x="918" y="1185"/>
                      <a:pt x="918" y="1105"/>
                    </a:cubicBezTo>
                    <a:lnTo>
                      <a:pt x="918" y="338"/>
                    </a:lnTo>
                    <a:cubicBezTo>
                      <a:pt x="918" y="258"/>
                      <a:pt x="855" y="185"/>
                      <a:pt x="773" y="185"/>
                    </a:cubicBezTo>
                    <a:lnTo>
                      <a:pt x="633" y="185"/>
                    </a:lnTo>
                    <a:cubicBezTo>
                      <a:pt x="615" y="185"/>
                      <a:pt x="600" y="199"/>
                      <a:pt x="600" y="217"/>
                    </a:cubicBezTo>
                    <a:cubicBezTo>
                      <a:pt x="600" y="219"/>
                      <a:pt x="601" y="221"/>
                      <a:pt x="601" y="223"/>
                    </a:cubicBezTo>
                    <a:lnTo>
                      <a:pt x="621" y="332"/>
                    </a:lnTo>
                    <a:lnTo>
                      <a:pt x="280" y="332"/>
                    </a:lnTo>
                    <a:lnTo>
                      <a:pt x="316" y="228"/>
                    </a:lnTo>
                    <a:cubicBezTo>
                      <a:pt x="317" y="225"/>
                      <a:pt x="317" y="220"/>
                      <a:pt x="317" y="216"/>
                    </a:cubicBezTo>
                    <a:lnTo>
                      <a:pt x="314" y="118"/>
                    </a:lnTo>
                    <a:lnTo>
                      <a:pt x="393" y="118"/>
                    </a:lnTo>
                    <a:cubicBezTo>
                      <a:pt x="411" y="118"/>
                      <a:pt x="425" y="103"/>
                      <a:pt x="425" y="85"/>
                    </a:cubicBezTo>
                    <a:lnTo>
                      <a:pt x="425" y="64"/>
                    </a:lnTo>
                    <a:lnTo>
                      <a:pt x="464" y="64"/>
                    </a:lnTo>
                    <a:lnTo>
                      <a:pt x="464" y="85"/>
                    </a:lnTo>
                    <a:cubicBezTo>
                      <a:pt x="464" y="103"/>
                      <a:pt x="478" y="118"/>
                      <a:pt x="496" y="118"/>
                    </a:cubicBezTo>
                    <a:lnTo>
                      <a:pt x="616" y="118"/>
                    </a:lnTo>
                    <a:cubicBezTo>
                      <a:pt x="634" y="118"/>
                      <a:pt x="649" y="104"/>
                      <a:pt x="649" y="86"/>
                    </a:cubicBezTo>
                    <a:cubicBezTo>
                      <a:pt x="650" y="69"/>
                      <a:pt x="635" y="54"/>
                      <a:pt x="618" y="54"/>
                    </a:cubicBezTo>
                    <a:lnTo>
                      <a:pt x="616" y="54"/>
                    </a:lnTo>
                    <a:lnTo>
                      <a:pt x="529" y="54"/>
                    </a:lnTo>
                    <a:lnTo>
                      <a:pt x="529" y="33"/>
                    </a:lnTo>
                    <a:cubicBezTo>
                      <a:pt x="529" y="15"/>
                      <a:pt x="515" y="0"/>
                      <a:pt x="497" y="0"/>
                    </a:cubicBezTo>
                    <a:lnTo>
                      <a:pt x="496" y="0"/>
                    </a:lnTo>
                    <a:lnTo>
                      <a:pt x="393" y="0"/>
                    </a:lnTo>
                    <a:cubicBezTo>
                      <a:pt x="392" y="0"/>
                      <a:pt x="391" y="0"/>
                      <a:pt x="390" y="0"/>
                    </a:cubicBezTo>
                    <a:cubicBezTo>
                      <a:pt x="389" y="0"/>
                      <a:pt x="388" y="0"/>
                      <a:pt x="387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7" name="Clipboard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76" y="195"/>
                <a:ext cx="203" cy="218"/>
              </a:xfrm>
              <a:custGeom>
                <a:avLst/>
                <a:gdLst>
                  <a:gd name="T0" fmla="*/ 507 w 541"/>
                  <a:gd name="T1" fmla="*/ 0 h 579"/>
                  <a:gd name="T2" fmla="*/ 502 w 541"/>
                  <a:gd name="T3" fmla="*/ 1 h 579"/>
                  <a:gd name="T4" fmla="*/ 485 w 541"/>
                  <a:gd name="T5" fmla="*/ 10 h 579"/>
                  <a:gd name="T6" fmla="*/ 202 w 541"/>
                  <a:gd name="T7" fmla="*/ 293 h 579"/>
                  <a:gd name="T8" fmla="*/ 55 w 541"/>
                  <a:gd name="T9" fmla="*/ 147 h 579"/>
                  <a:gd name="T10" fmla="*/ 9 w 541"/>
                  <a:gd name="T11" fmla="*/ 147 h 579"/>
                  <a:gd name="T12" fmla="*/ 0 w 541"/>
                  <a:gd name="T13" fmla="*/ 168 h 579"/>
                  <a:gd name="T14" fmla="*/ 0 w 541"/>
                  <a:gd name="T15" fmla="*/ 373 h 579"/>
                  <a:gd name="T16" fmla="*/ 10 w 541"/>
                  <a:gd name="T17" fmla="*/ 396 h 579"/>
                  <a:gd name="T18" fmla="*/ 179 w 541"/>
                  <a:gd name="T19" fmla="*/ 566 h 579"/>
                  <a:gd name="T20" fmla="*/ 225 w 541"/>
                  <a:gd name="T21" fmla="*/ 566 h 579"/>
                  <a:gd name="T22" fmla="*/ 225 w 541"/>
                  <a:gd name="T23" fmla="*/ 566 h 579"/>
                  <a:gd name="T24" fmla="*/ 431 w 541"/>
                  <a:gd name="T25" fmla="*/ 361 h 579"/>
                  <a:gd name="T26" fmla="*/ 431 w 541"/>
                  <a:gd name="T27" fmla="*/ 315 h 579"/>
                  <a:gd name="T28" fmla="*/ 385 w 541"/>
                  <a:gd name="T29" fmla="*/ 315 h 579"/>
                  <a:gd name="T30" fmla="*/ 202 w 541"/>
                  <a:gd name="T31" fmla="*/ 497 h 579"/>
                  <a:gd name="T32" fmla="*/ 65 w 541"/>
                  <a:gd name="T33" fmla="*/ 360 h 579"/>
                  <a:gd name="T34" fmla="*/ 65 w 541"/>
                  <a:gd name="T35" fmla="*/ 246 h 579"/>
                  <a:gd name="T36" fmla="*/ 179 w 541"/>
                  <a:gd name="T37" fmla="*/ 361 h 579"/>
                  <a:gd name="T38" fmla="*/ 225 w 541"/>
                  <a:gd name="T39" fmla="*/ 361 h 579"/>
                  <a:gd name="T40" fmla="*/ 225 w 541"/>
                  <a:gd name="T41" fmla="*/ 361 h 579"/>
                  <a:gd name="T42" fmla="*/ 477 w 541"/>
                  <a:gd name="T43" fmla="*/ 110 h 579"/>
                  <a:gd name="T44" fmla="*/ 477 w 541"/>
                  <a:gd name="T45" fmla="*/ 237 h 579"/>
                  <a:gd name="T46" fmla="*/ 508 w 541"/>
                  <a:gd name="T47" fmla="*/ 270 h 579"/>
                  <a:gd name="T48" fmla="*/ 541 w 541"/>
                  <a:gd name="T49" fmla="*/ 239 h 579"/>
                  <a:gd name="T50" fmla="*/ 541 w 541"/>
                  <a:gd name="T51" fmla="*/ 237 h 579"/>
                  <a:gd name="T52" fmla="*/ 541 w 541"/>
                  <a:gd name="T53" fmla="*/ 33 h 579"/>
                  <a:gd name="T54" fmla="*/ 509 w 541"/>
                  <a:gd name="T55" fmla="*/ 0 h 579"/>
                  <a:gd name="T56" fmla="*/ 507 w 541"/>
                  <a:gd name="T57" fmla="*/ 0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41" h="579">
                    <a:moveTo>
                      <a:pt x="507" y="0"/>
                    </a:moveTo>
                    <a:cubicBezTo>
                      <a:pt x="505" y="0"/>
                      <a:pt x="504" y="1"/>
                      <a:pt x="502" y="1"/>
                    </a:cubicBezTo>
                    <a:cubicBezTo>
                      <a:pt x="496" y="2"/>
                      <a:pt x="490" y="5"/>
                      <a:pt x="485" y="10"/>
                    </a:cubicBezTo>
                    <a:lnTo>
                      <a:pt x="202" y="293"/>
                    </a:lnTo>
                    <a:lnTo>
                      <a:pt x="55" y="147"/>
                    </a:lnTo>
                    <a:cubicBezTo>
                      <a:pt x="42" y="134"/>
                      <a:pt x="22" y="134"/>
                      <a:pt x="9" y="147"/>
                    </a:cubicBezTo>
                    <a:cubicBezTo>
                      <a:pt x="4" y="153"/>
                      <a:pt x="1" y="160"/>
                      <a:pt x="0" y="168"/>
                    </a:cubicBezTo>
                    <a:lnTo>
                      <a:pt x="0" y="373"/>
                    </a:lnTo>
                    <a:cubicBezTo>
                      <a:pt x="0" y="381"/>
                      <a:pt x="4" y="390"/>
                      <a:pt x="10" y="396"/>
                    </a:cubicBezTo>
                    <a:lnTo>
                      <a:pt x="179" y="566"/>
                    </a:lnTo>
                    <a:cubicBezTo>
                      <a:pt x="192" y="579"/>
                      <a:pt x="212" y="579"/>
                      <a:pt x="225" y="566"/>
                    </a:cubicBezTo>
                    <a:cubicBezTo>
                      <a:pt x="225" y="566"/>
                      <a:pt x="225" y="566"/>
                      <a:pt x="225" y="566"/>
                    </a:cubicBezTo>
                    <a:lnTo>
                      <a:pt x="431" y="361"/>
                    </a:lnTo>
                    <a:cubicBezTo>
                      <a:pt x="443" y="348"/>
                      <a:pt x="443" y="327"/>
                      <a:pt x="431" y="315"/>
                    </a:cubicBezTo>
                    <a:cubicBezTo>
                      <a:pt x="418" y="302"/>
                      <a:pt x="398" y="302"/>
                      <a:pt x="385" y="315"/>
                    </a:cubicBezTo>
                    <a:lnTo>
                      <a:pt x="202" y="497"/>
                    </a:lnTo>
                    <a:lnTo>
                      <a:pt x="65" y="360"/>
                    </a:lnTo>
                    <a:lnTo>
                      <a:pt x="65" y="246"/>
                    </a:lnTo>
                    <a:lnTo>
                      <a:pt x="179" y="361"/>
                    </a:lnTo>
                    <a:cubicBezTo>
                      <a:pt x="192" y="373"/>
                      <a:pt x="212" y="373"/>
                      <a:pt x="225" y="361"/>
                    </a:cubicBezTo>
                    <a:cubicBezTo>
                      <a:pt x="225" y="361"/>
                      <a:pt x="225" y="361"/>
                      <a:pt x="225" y="361"/>
                    </a:cubicBezTo>
                    <a:lnTo>
                      <a:pt x="477" y="110"/>
                    </a:lnTo>
                    <a:lnTo>
                      <a:pt x="477" y="237"/>
                    </a:lnTo>
                    <a:cubicBezTo>
                      <a:pt x="476" y="255"/>
                      <a:pt x="490" y="270"/>
                      <a:pt x="508" y="270"/>
                    </a:cubicBezTo>
                    <a:cubicBezTo>
                      <a:pt x="526" y="270"/>
                      <a:pt x="541" y="256"/>
                      <a:pt x="541" y="239"/>
                    </a:cubicBezTo>
                    <a:lnTo>
                      <a:pt x="541" y="237"/>
                    </a:lnTo>
                    <a:lnTo>
                      <a:pt x="541" y="33"/>
                    </a:lnTo>
                    <a:cubicBezTo>
                      <a:pt x="541" y="15"/>
                      <a:pt x="527" y="0"/>
                      <a:pt x="509" y="0"/>
                    </a:cubicBezTo>
                    <a:cubicBezTo>
                      <a:pt x="509" y="0"/>
                      <a:pt x="508" y="0"/>
                      <a:pt x="507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15" name="TextBox 514"/>
            <p:cNvSpPr txBox="1"/>
            <p:nvPr/>
          </p:nvSpPr>
          <p:spPr>
            <a:xfrm>
              <a:off x="3525492" y="3974171"/>
              <a:ext cx="8292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 smtClean="0"/>
                <a:t>Segure</a:t>
              </a:r>
              <a:endParaRPr lang="en-US" dirty="0"/>
            </a:p>
          </p:txBody>
        </p:sp>
      </p:grpSp>
      <p:grpSp>
        <p:nvGrpSpPr>
          <p:cNvPr id="543" name="Group 542"/>
          <p:cNvGrpSpPr/>
          <p:nvPr/>
        </p:nvGrpSpPr>
        <p:grpSpPr>
          <a:xfrm>
            <a:off x="3597094" y="4905552"/>
            <a:ext cx="863121" cy="1010106"/>
            <a:chOff x="3525492" y="3333397"/>
            <a:chExt cx="863121" cy="1010106"/>
          </a:xfrm>
        </p:grpSpPr>
        <p:grpSp>
          <p:nvGrpSpPr>
            <p:cNvPr id="544" name="Clipboard"/>
            <p:cNvGrpSpPr>
              <a:grpSpLocks noChangeAspect="1"/>
            </p:cNvGrpSpPr>
            <p:nvPr>
              <p:custDataLst>
                <p:tags r:id="rId43"/>
              </p:custDataLst>
            </p:nvPr>
          </p:nvGrpSpPr>
          <p:grpSpPr bwMode="auto">
            <a:xfrm>
              <a:off x="3837298" y="3333397"/>
              <a:ext cx="397684" cy="542925"/>
              <a:chOff x="8" y="8"/>
              <a:chExt cx="345" cy="471"/>
            </a:xfrm>
            <a:solidFill>
              <a:schemeClr val="accent1"/>
            </a:solidFill>
          </p:grpSpPr>
          <p:sp>
            <p:nvSpPr>
              <p:cNvPr id="546" name="Clipboard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8" y="8"/>
                <a:ext cx="345" cy="471"/>
              </a:xfrm>
              <a:custGeom>
                <a:avLst/>
                <a:gdLst>
                  <a:gd name="T0" fmla="*/ 387 w 918"/>
                  <a:gd name="T1" fmla="*/ 0 h 1250"/>
                  <a:gd name="T2" fmla="*/ 361 w 918"/>
                  <a:gd name="T3" fmla="*/ 33 h 1250"/>
                  <a:gd name="T4" fmla="*/ 361 w 918"/>
                  <a:gd name="T5" fmla="*/ 54 h 1250"/>
                  <a:gd name="T6" fmla="*/ 281 w 918"/>
                  <a:gd name="T7" fmla="*/ 54 h 1250"/>
                  <a:gd name="T8" fmla="*/ 248 w 918"/>
                  <a:gd name="T9" fmla="*/ 85 h 1250"/>
                  <a:gd name="T10" fmla="*/ 248 w 918"/>
                  <a:gd name="T11" fmla="*/ 86 h 1250"/>
                  <a:gd name="T12" fmla="*/ 252 w 918"/>
                  <a:gd name="T13" fmla="*/ 213 h 1250"/>
                  <a:gd name="T14" fmla="*/ 204 w 918"/>
                  <a:gd name="T15" fmla="*/ 354 h 1250"/>
                  <a:gd name="T16" fmla="*/ 224 w 918"/>
                  <a:gd name="T17" fmla="*/ 395 h 1250"/>
                  <a:gd name="T18" fmla="*/ 235 w 918"/>
                  <a:gd name="T19" fmla="*/ 397 h 1250"/>
                  <a:gd name="T20" fmla="*/ 659 w 918"/>
                  <a:gd name="T21" fmla="*/ 397 h 1250"/>
                  <a:gd name="T22" fmla="*/ 691 w 918"/>
                  <a:gd name="T23" fmla="*/ 364 h 1250"/>
                  <a:gd name="T24" fmla="*/ 691 w 918"/>
                  <a:gd name="T25" fmla="*/ 358 h 1250"/>
                  <a:gd name="T26" fmla="*/ 671 w 918"/>
                  <a:gd name="T27" fmla="*/ 249 h 1250"/>
                  <a:gd name="T28" fmla="*/ 772 w 918"/>
                  <a:gd name="T29" fmla="*/ 249 h 1250"/>
                  <a:gd name="T30" fmla="*/ 853 w 918"/>
                  <a:gd name="T31" fmla="*/ 338 h 1250"/>
                  <a:gd name="T32" fmla="*/ 853 w 918"/>
                  <a:gd name="T33" fmla="*/ 1105 h 1250"/>
                  <a:gd name="T34" fmla="*/ 772 w 918"/>
                  <a:gd name="T35" fmla="*/ 1186 h 1250"/>
                  <a:gd name="T36" fmla="*/ 145 w 918"/>
                  <a:gd name="T37" fmla="*/ 1186 h 1250"/>
                  <a:gd name="T38" fmla="*/ 64 w 918"/>
                  <a:gd name="T39" fmla="*/ 1105 h 1250"/>
                  <a:gd name="T40" fmla="*/ 64 w 918"/>
                  <a:gd name="T41" fmla="*/ 338 h 1250"/>
                  <a:gd name="T42" fmla="*/ 145 w 918"/>
                  <a:gd name="T43" fmla="*/ 249 h 1250"/>
                  <a:gd name="T44" fmla="*/ 178 w 918"/>
                  <a:gd name="T45" fmla="*/ 218 h 1250"/>
                  <a:gd name="T46" fmla="*/ 147 w 918"/>
                  <a:gd name="T47" fmla="*/ 185 h 1250"/>
                  <a:gd name="T48" fmla="*/ 145 w 918"/>
                  <a:gd name="T49" fmla="*/ 185 h 1250"/>
                  <a:gd name="T50" fmla="*/ 0 w 918"/>
                  <a:gd name="T51" fmla="*/ 338 h 1250"/>
                  <a:gd name="T52" fmla="*/ 0 w 918"/>
                  <a:gd name="T53" fmla="*/ 1105 h 1250"/>
                  <a:gd name="T54" fmla="*/ 145 w 918"/>
                  <a:gd name="T55" fmla="*/ 1250 h 1250"/>
                  <a:gd name="T56" fmla="*/ 773 w 918"/>
                  <a:gd name="T57" fmla="*/ 1250 h 1250"/>
                  <a:gd name="T58" fmla="*/ 918 w 918"/>
                  <a:gd name="T59" fmla="*/ 1105 h 1250"/>
                  <a:gd name="T60" fmla="*/ 918 w 918"/>
                  <a:gd name="T61" fmla="*/ 338 h 1250"/>
                  <a:gd name="T62" fmla="*/ 773 w 918"/>
                  <a:gd name="T63" fmla="*/ 185 h 1250"/>
                  <a:gd name="T64" fmla="*/ 633 w 918"/>
                  <a:gd name="T65" fmla="*/ 185 h 1250"/>
                  <a:gd name="T66" fmla="*/ 600 w 918"/>
                  <a:gd name="T67" fmla="*/ 217 h 1250"/>
                  <a:gd name="T68" fmla="*/ 601 w 918"/>
                  <a:gd name="T69" fmla="*/ 223 h 1250"/>
                  <a:gd name="T70" fmla="*/ 621 w 918"/>
                  <a:gd name="T71" fmla="*/ 332 h 1250"/>
                  <a:gd name="T72" fmla="*/ 280 w 918"/>
                  <a:gd name="T73" fmla="*/ 332 h 1250"/>
                  <a:gd name="T74" fmla="*/ 316 w 918"/>
                  <a:gd name="T75" fmla="*/ 228 h 1250"/>
                  <a:gd name="T76" fmla="*/ 317 w 918"/>
                  <a:gd name="T77" fmla="*/ 216 h 1250"/>
                  <a:gd name="T78" fmla="*/ 314 w 918"/>
                  <a:gd name="T79" fmla="*/ 118 h 1250"/>
                  <a:gd name="T80" fmla="*/ 393 w 918"/>
                  <a:gd name="T81" fmla="*/ 118 h 1250"/>
                  <a:gd name="T82" fmla="*/ 425 w 918"/>
                  <a:gd name="T83" fmla="*/ 85 h 1250"/>
                  <a:gd name="T84" fmla="*/ 425 w 918"/>
                  <a:gd name="T85" fmla="*/ 64 h 1250"/>
                  <a:gd name="T86" fmla="*/ 464 w 918"/>
                  <a:gd name="T87" fmla="*/ 64 h 1250"/>
                  <a:gd name="T88" fmla="*/ 464 w 918"/>
                  <a:gd name="T89" fmla="*/ 85 h 1250"/>
                  <a:gd name="T90" fmla="*/ 496 w 918"/>
                  <a:gd name="T91" fmla="*/ 118 h 1250"/>
                  <a:gd name="T92" fmla="*/ 616 w 918"/>
                  <a:gd name="T93" fmla="*/ 118 h 1250"/>
                  <a:gd name="T94" fmla="*/ 649 w 918"/>
                  <a:gd name="T95" fmla="*/ 86 h 1250"/>
                  <a:gd name="T96" fmla="*/ 618 w 918"/>
                  <a:gd name="T97" fmla="*/ 54 h 1250"/>
                  <a:gd name="T98" fmla="*/ 616 w 918"/>
                  <a:gd name="T99" fmla="*/ 54 h 1250"/>
                  <a:gd name="T100" fmla="*/ 529 w 918"/>
                  <a:gd name="T101" fmla="*/ 54 h 1250"/>
                  <a:gd name="T102" fmla="*/ 529 w 918"/>
                  <a:gd name="T103" fmla="*/ 33 h 1250"/>
                  <a:gd name="T104" fmla="*/ 497 w 918"/>
                  <a:gd name="T105" fmla="*/ 0 h 1250"/>
                  <a:gd name="T106" fmla="*/ 496 w 918"/>
                  <a:gd name="T107" fmla="*/ 0 h 1250"/>
                  <a:gd name="T108" fmla="*/ 393 w 918"/>
                  <a:gd name="T109" fmla="*/ 0 h 1250"/>
                  <a:gd name="T110" fmla="*/ 390 w 918"/>
                  <a:gd name="T111" fmla="*/ 0 h 1250"/>
                  <a:gd name="T112" fmla="*/ 387 w 918"/>
                  <a:gd name="T113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18" h="1250">
                    <a:moveTo>
                      <a:pt x="387" y="0"/>
                    </a:moveTo>
                    <a:cubicBezTo>
                      <a:pt x="371" y="3"/>
                      <a:pt x="360" y="17"/>
                      <a:pt x="361" y="33"/>
                    </a:cubicBezTo>
                    <a:lnTo>
                      <a:pt x="361" y="54"/>
                    </a:lnTo>
                    <a:lnTo>
                      <a:pt x="281" y="54"/>
                    </a:lnTo>
                    <a:cubicBezTo>
                      <a:pt x="263" y="53"/>
                      <a:pt x="248" y="67"/>
                      <a:pt x="248" y="85"/>
                    </a:cubicBezTo>
                    <a:lnTo>
                      <a:pt x="248" y="86"/>
                    </a:lnTo>
                    <a:lnTo>
                      <a:pt x="252" y="213"/>
                    </a:lnTo>
                    <a:lnTo>
                      <a:pt x="204" y="354"/>
                    </a:lnTo>
                    <a:cubicBezTo>
                      <a:pt x="199" y="371"/>
                      <a:pt x="208" y="389"/>
                      <a:pt x="224" y="395"/>
                    </a:cubicBezTo>
                    <a:cubicBezTo>
                      <a:pt x="228" y="396"/>
                      <a:pt x="231" y="397"/>
                      <a:pt x="235" y="397"/>
                    </a:cubicBezTo>
                    <a:lnTo>
                      <a:pt x="659" y="397"/>
                    </a:lnTo>
                    <a:cubicBezTo>
                      <a:pt x="677" y="397"/>
                      <a:pt x="691" y="382"/>
                      <a:pt x="691" y="364"/>
                    </a:cubicBezTo>
                    <a:cubicBezTo>
                      <a:pt x="691" y="362"/>
                      <a:pt x="691" y="360"/>
                      <a:pt x="691" y="358"/>
                    </a:cubicBezTo>
                    <a:lnTo>
                      <a:pt x="671" y="249"/>
                    </a:lnTo>
                    <a:lnTo>
                      <a:pt x="772" y="249"/>
                    </a:lnTo>
                    <a:cubicBezTo>
                      <a:pt x="815" y="249"/>
                      <a:pt x="853" y="292"/>
                      <a:pt x="853" y="338"/>
                    </a:cubicBezTo>
                    <a:lnTo>
                      <a:pt x="853" y="1105"/>
                    </a:lnTo>
                    <a:cubicBezTo>
                      <a:pt x="853" y="1150"/>
                      <a:pt x="818" y="1186"/>
                      <a:pt x="772" y="1186"/>
                    </a:cubicBezTo>
                    <a:lnTo>
                      <a:pt x="145" y="1186"/>
                    </a:lnTo>
                    <a:cubicBezTo>
                      <a:pt x="100" y="1186"/>
                      <a:pt x="64" y="1150"/>
                      <a:pt x="64" y="1105"/>
                    </a:cubicBezTo>
                    <a:lnTo>
                      <a:pt x="64" y="338"/>
                    </a:lnTo>
                    <a:cubicBezTo>
                      <a:pt x="64" y="292"/>
                      <a:pt x="103" y="249"/>
                      <a:pt x="145" y="249"/>
                    </a:cubicBezTo>
                    <a:cubicBezTo>
                      <a:pt x="163" y="250"/>
                      <a:pt x="178" y="235"/>
                      <a:pt x="178" y="218"/>
                    </a:cubicBezTo>
                    <a:cubicBezTo>
                      <a:pt x="179" y="200"/>
                      <a:pt x="164" y="185"/>
                      <a:pt x="147" y="185"/>
                    </a:cubicBezTo>
                    <a:lnTo>
                      <a:pt x="145" y="185"/>
                    </a:lnTo>
                    <a:cubicBezTo>
                      <a:pt x="63" y="185"/>
                      <a:pt x="0" y="258"/>
                      <a:pt x="0" y="338"/>
                    </a:cubicBezTo>
                    <a:lnTo>
                      <a:pt x="0" y="1105"/>
                    </a:lnTo>
                    <a:cubicBezTo>
                      <a:pt x="0" y="1185"/>
                      <a:pt x="65" y="1250"/>
                      <a:pt x="145" y="1250"/>
                    </a:cubicBezTo>
                    <a:lnTo>
                      <a:pt x="773" y="1250"/>
                    </a:lnTo>
                    <a:cubicBezTo>
                      <a:pt x="852" y="1250"/>
                      <a:pt x="918" y="1185"/>
                      <a:pt x="918" y="1105"/>
                    </a:cubicBezTo>
                    <a:lnTo>
                      <a:pt x="918" y="338"/>
                    </a:lnTo>
                    <a:cubicBezTo>
                      <a:pt x="918" y="258"/>
                      <a:pt x="855" y="185"/>
                      <a:pt x="773" y="185"/>
                    </a:cubicBezTo>
                    <a:lnTo>
                      <a:pt x="633" y="185"/>
                    </a:lnTo>
                    <a:cubicBezTo>
                      <a:pt x="615" y="185"/>
                      <a:pt x="600" y="199"/>
                      <a:pt x="600" y="217"/>
                    </a:cubicBezTo>
                    <a:cubicBezTo>
                      <a:pt x="600" y="219"/>
                      <a:pt x="601" y="221"/>
                      <a:pt x="601" y="223"/>
                    </a:cubicBezTo>
                    <a:lnTo>
                      <a:pt x="621" y="332"/>
                    </a:lnTo>
                    <a:lnTo>
                      <a:pt x="280" y="332"/>
                    </a:lnTo>
                    <a:lnTo>
                      <a:pt x="316" y="228"/>
                    </a:lnTo>
                    <a:cubicBezTo>
                      <a:pt x="317" y="225"/>
                      <a:pt x="317" y="220"/>
                      <a:pt x="317" y="216"/>
                    </a:cubicBezTo>
                    <a:lnTo>
                      <a:pt x="314" y="118"/>
                    </a:lnTo>
                    <a:lnTo>
                      <a:pt x="393" y="118"/>
                    </a:lnTo>
                    <a:cubicBezTo>
                      <a:pt x="411" y="118"/>
                      <a:pt x="425" y="103"/>
                      <a:pt x="425" y="85"/>
                    </a:cubicBezTo>
                    <a:lnTo>
                      <a:pt x="425" y="64"/>
                    </a:lnTo>
                    <a:lnTo>
                      <a:pt x="464" y="64"/>
                    </a:lnTo>
                    <a:lnTo>
                      <a:pt x="464" y="85"/>
                    </a:lnTo>
                    <a:cubicBezTo>
                      <a:pt x="464" y="103"/>
                      <a:pt x="478" y="118"/>
                      <a:pt x="496" y="118"/>
                    </a:cubicBezTo>
                    <a:lnTo>
                      <a:pt x="616" y="118"/>
                    </a:lnTo>
                    <a:cubicBezTo>
                      <a:pt x="634" y="118"/>
                      <a:pt x="649" y="104"/>
                      <a:pt x="649" y="86"/>
                    </a:cubicBezTo>
                    <a:cubicBezTo>
                      <a:pt x="650" y="69"/>
                      <a:pt x="635" y="54"/>
                      <a:pt x="618" y="54"/>
                    </a:cubicBezTo>
                    <a:lnTo>
                      <a:pt x="616" y="54"/>
                    </a:lnTo>
                    <a:lnTo>
                      <a:pt x="529" y="54"/>
                    </a:lnTo>
                    <a:lnTo>
                      <a:pt x="529" y="33"/>
                    </a:lnTo>
                    <a:cubicBezTo>
                      <a:pt x="529" y="15"/>
                      <a:pt x="515" y="0"/>
                      <a:pt x="497" y="0"/>
                    </a:cubicBezTo>
                    <a:lnTo>
                      <a:pt x="496" y="0"/>
                    </a:lnTo>
                    <a:lnTo>
                      <a:pt x="393" y="0"/>
                    </a:lnTo>
                    <a:cubicBezTo>
                      <a:pt x="392" y="0"/>
                      <a:pt x="391" y="0"/>
                      <a:pt x="390" y="0"/>
                    </a:cubicBezTo>
                    <a:cubicBezTo>
                      <a:pt x="389" y="0"/>
                      <a:pt x="388" y="0"/>
                      <a:pt x="387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7" name="Clipboard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76" y="195"/>
                <a:ext cx="203" cy="218"/>
              </a:xfrm>
              <a:custGeom>
                <a:avLst/>
                <a:gdLst>
                  <a:gd name="T0" fmla="*/ 507 w 541"/>
                  <a:gd name="T1" fmla="*/ 0 h 579"/>
                  <a:gd name="T2" fmla="*/ 502 w 541"/>
                  <a:gd name="T3" fmla="*/ 1 h 579"/>
                  <a:gd name="T4" fmla="*/ 485 w 541"/>
                  <a:gd name="T5" fmla="*/ 10 h 579"/>
                  <a:gd name="T6" fmla="*/ 202 w 541"/>
                  <a:gd name="T7" fmla="*/ 293 h 579"/>
                  <a:gd name="T8" fmla="*/ 55 w 541"/>
                  <a:gd name="T9" fmla="*/ 147 h 579"/>
                  <a:gd name="T10" fmla="*/ 9 w 541"/>
                  <a:gd name="T11" fmla="*/ 147 h 579"/>
                  <a:gd name="T12" fmla="*/ 0 w 541"/>
                  <a:gd name="T13" fmla="*/ 168 h 579"/>
                  <a:gd name="T14" fmla="*/ 0 w 541"/>
                  <a:gd name="T15" fmla="*/ 373 h 579"/>
                  <a:gd name="T16" fmla="*/ 10 w 541"/>
                  <a:gd name="T17" fmla="*/ 396 h 579"/>
                  <a:gd name="T18" fmla="*/ 179 w 541"/>
                  <a:gd name="T19" fmla="*/ 566 h 579"/>
                  <a:gd name="T20" fmla="*/ 225 w 541"/>
                  <a:gd name="T21" fmla="*/ 566 h 579"/>
                  <a:gd name="T22" fmla="*/ 225 w 541"/>
                  <a:gd name="T23" fmla="*/ 566 h 579"/>
                  <a:gd name="T24" fmla="*/ 431 w 541"/>
                  <a:gd name="T25" fmla="*/ 361 h 579"/>
                  <a:gd name="T26" fmla="*/ 431 w 541"/>
                  <a:gd name="T27" fmla="*/ 315 h 579"/>
                  <a:gd name="T28" fmla="*/ 385 w 541"/>
                  <a:gd name="T29" fmla="*/ 315 h 579"/>
                  <a:gd name="T30" fmla="*/ 202 w 541"/>
                  <a:gd name="T31" fmla="*/ 497 h 579"/>
                  <a:gd name="T32" fmla="*/ 65 w 541"/>
                  <a:gd name="T33" fmla="*/ 360 h 579"/>
                  <a:gd name="T34" fmla="*/ 65 w 541"/>
                  <a:gd name="T35" fmla="*/ 246 h 579"/>
                  <a:gd name="T36" fmla="*/ 179 w 541"/>
                  <a:gd name="T37" fmla="*/ 361 h 579"/>
                  <a:gd name="T38" fmla="*/ 225 w 541"/>
                  <a:gd name="T39" fmla="*/ 361 h 579"/>
                  <a:gd name="T40" fmla="*/ 225 w 541"/>
                  <a:gd name="T41" fmla="*/ 361 h 579"/>
                  <a:gd name="T42" fmla="*/ 477 w 541"/>
                  <a:gd name="T43" fmla="*/ 110 h 579"/>
                  <a:gd name="T44" fmla="*/ 477 w 541"/>
                  <a:gd name="T45" fmla="*/ 237 h 579"/>
                  <a:gd name="T46" fmla="*/ 508 w 541"/>
                  <a:gd name="T47" fmla="*/ 270 h 579"/>
                  <a:gd name="T48" fmla="*/ 541 w 541"/>
                  <a:gd name="T49" fmla="*/ 239 h 579"/>
                  <a:gd name="T50" fmla="*/ 541 w 541"/>
                  <a:gd name="T51" fmla="*/ 237 h 579"/>
                  <a:gd name="T52" fmla="*/ 541 w 541"/>
                  <a:gd name="T53" fmla="*/ 33 h 579"/>
                  <a:gd name="T54" fmla="*/ 509 w 541"/>
                  <a:gd name="T55" fmla="*/ 0 h 579"/>
                  <a:gd name="T56" fmla="*/ 507 w 541"/>
                  <a:gd name="T57" fmla="*/ 0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41" h="579">
                    <a:moveTo>
                      <a:pt x="507" y="0"/>
                    </a:moveTo>
                    <a:cubicBezTo>
                      <a:pt x="505" y="0"/>
                      <a:pt x="504" y="1"/>
                      <a:pt x="502" y="1"/>
                    </a:cubicBezTo>
                    <a:cubicBezTo>
                      <a:pt x="496" y="2"/>
                      <a:pt x="490" y="5"/>
                      <a:pt x="485" y="10"/>
                    </a:cubicBezTo>
                    <a:lnTo>
                      <a:pt x="202" y="293"/>
                    </a:lnTo>
                    <a:lnTo>
                      <a:pt x="55" y="147"/>
                    </a:lnTo>
                    <a:cubicBezTo>
                      <a:pt x="42" y="134"/>
                      <a:pt x="22" y="134"/>
                      <a:pt x="9" y="147"/>
                    </a:cubicBezTo>
                    <a:cubicBezTo>
                      <a:pt x="4" y="153"/>
                      <a:pt x="1" y="160"/>
                      <a:pt x="0" y="168"/>
                    </a:cubicBezTo>
                    <a:lnTo>
                      <a:pt x="0" y="373"/>
                    </a:lnTo>
                    <a:cubicBezTo>
                      <a:pt x="0" y="381"/>
                      <a:pt x="4" y="390"/>
                      <a:pt x="10" y="396"/>
                    </a:cubicBezTo>
                    <a:lnTo>
                      <a:pt x="179" y="566"/>
                    </a:lnTo>
                    <a:cubicBezTo>
                      <a:pt x="192" y="579"/>
                      <a:pt x="212" y="579"/>
                      <a:pt x="225" y="566"/>
                    </a:cubicBezTo>
                    <a:cubicBezTo>
                      <a:pt x="225" y="566"/>
                      <a:pt x="225" y="566"/>
                      <a:pt x="225" y="566"/>
                    </a:cubicBezTo>
                    <a:lnTo>
                      <a:pt x="431" y="361"/>
                    </a:lnTo>
                    <a:cubicBezTo>
                      <a:pt x="443" y="348"/>
                      <a:pt x="443" y="327"/>
                      <a:pt x="431" y="315"/>
                    </a:cubicBezTo>
                    <a:cubicBezTo>
                      <a:pt x="418" y="302"/>
                      <a:pt x="398" y="302"/>
                      <a:pt x="385" y="315"/>
                    </a:cubicBezTo>
                    <a:lnTo>
                      <a:pt x="202" y="497"/>
                    </a:lnTo>
                    <a:lnTo>
                      <a:pt x="65" y="360"/>
                    </a:lnTo>
                    <a:lnTo>
                      <a:pt x="65" y="246"/>
                    </a:lnTo>
                    <a:lnTo>
                      <a:pt x="179" y="361"/>
                    </a:lnTo>
                    <a:cubicBezTo>
                      <a:pt x="192" y="373"/>
                      <a:pt x="212" y="373"/>
                      <a:pt x="225" y="361"/>
                    </a:cubicBezTo>
                    <a:cubicBezTo>
                      <a:pt x="225" y="361"/>
                      <a:pt x="225" y="361"/>
                      <a:pt x="225" y="361"/>
                    </a:cubicBezTo>
                    <a:lnTo>
                      <a:pt x="477" y="110"/>
                    </a:lnTo>
                    <a:lnTo>
                      <a:pt x="477" y="237"/>
                    </a:lnTo>
                    <a:cubicBezTo>
                      <a:pt x="476" y="255"/>
                      <a:pt x="490" y="270"/>
                      <a:pt x="508" y="270"/>
                    </a:cubicBezTo>
                    <a:cubicBezTo>
                      <a:pt x="526" y="270"/>
                      <a:pt x="541" y="256"/>
                      <a:pt x="541" y="239"/>
                    </a:cubicBezTo>
                    <a:lnTo>
                      <a:pt x="541" y="237"/>
                    </a:lnTo>
                    <a:lnTo>
                      <a:pt x="541" y="33"/>
                    </a:lnTo>
                    <a:cubicBezTo>
                      <a:pt x="541" y="15"/>
                      <a:pt x="527" y="0"/>
                      <a:pt x="509" y="0"/>
                    </a:cubicBezTo>
                    <a:cubicBezTo>
                      <a:pt x="509" y="0"/>
                      <a:pt x="508" y="0"/>
                      <a:pt x="507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45" name="TextBox 544"/>
            <p:cNvSpPr txBox="1"/>
            <p:nvPr/>
          </p:nvSpPr>
          <p:spPr>
            <a:xfrm>
              <a:off x="3525492" y="3974171"/>
              <a:ext cx="863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   </a:t>
              </a:r>
              <a:r>
                <a:rPr lang="en-US" dirty="0" err="1" smtClean="0"/>
                <a:t>Pagar</a:t>
              </a:r>
              <a:endParaRPr lang="en-US" dirty="0"/>
            </a:p>
          </p:txBody>
        </p:sp>
      </p:grpSp>
      <p:sp>
        <p:nvSpPr>
          <p:cNvPr id="563" name="Lightning Bolt 562"/>
          <p:cNvSpPr/>
          <p:nvPr/>
        </p:nvSpPr>
        <p:spPr>
          <a:xfrm>
            <a:off x="6196948" y="4521703"/>
            <a:ext cx="548640" cy="888423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9" name="Group 578"/>
          <p:cNvGrpSpPr/>
          <p:nvPr/>
        </p:nvGrpSpPr>
        <p:grpSpPr>
          <a:xfrm>
            <a:off x="8211655" y="4564259"/>
            <a:ext cx="1203022" cy="1010106"/>
            <a:chOff x="3525492" y="3333397"/>
            <a:chExt cx="1203022" cy="1010106"/>
          </a:xfrm>
        </p:grpSpPr>
        <p:grpSp>
          <p:nvGrpSpPr>
            <p:cNvPr id="580" name="Clipboard"/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3837298" y="3333397"/>
              <a:ext cx="397684" cy="542925"/>
              <a:chOff x="8" y="8"/>
              <a:chExt cx="345" cy="471"/>
            </a:xfrm>
            <a:solidFill>
              <a:schemeClr val="accent1"/>
            </a:solidFill>
          </p:grpSpPr>
          <p:sp>
            <p:nvSpPr>
              <p:cNvPr id="582" name="Clipboard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8" y="8"/>
                <a:ext cx="345" cy="471"/>
              </a:xfrm>
              <a:custGeom>
                <a:avLst/>
                <a:gdLst>
                  <a:gd name="T0" fmla="*/ 387 w 918"/>
                  <a:gd name="T1" fmla="*/ 0 h 1250"/>
                  <a:gd name="T2" fmla="*/ 361 w 918"/>
                  <a:gd name="T3" fmla="*/ 33 h 1250"/>
                  <a:gd name="T4" fmla="*/ 361 w 918"/>
                  <a:gd name="T5" fmla="*/ 54 h 1250"/>
                  <a:gd name="T6" fmla="*/ 281 w 918"/>
                  <a:gd name="T7" fmla="*/ 54 h 1250"/>
                  <a:gd name="T8" fmla="*/ 248 w 918"/>
                  <a:gd name="T9" fmla="*/ 85 h 1250"/>
                  <a:gd name="T10" fmla="*/ 248 w 918"/>
                  <a:gd name="T11" fmla="*/ 86 h 1250"/>
                  <a:gd name="T12" fmla="*/ 252 w 918"/>
                  <a:gd name="T13" fmla="*/ 213 h 1250"/>
                  <a:gd name="T14" fmla="*/ 204 w 918"/>
                  <a:gd name="T15" fmla="*/ 354 h 1250"/>
                  <a:gd name="T16" fmla="*/ 224 w 918"/>
                  <a:gd name="T17" fmla="*/ 395 h 1250"/>
                  <a:gd name="T18" fmla="*/ 235 w 918"/>
                  <a:gd name="T19" fmla="*/ 397 h 1250"/>
                  <a:gd name="T20" fmla="*/ 659 w 918"/>
                  <a:gd name="T21" fmla="*/ 397 h 1250"/>
                  <a:gd name="T22" fmla="*/ 691 w 918"/>
                  <a:gd name="T23" fmla="*/ 364 h 1250"/>
                  <a:gd name="T24" fmla="*/ 691 w 918"/>
                  <a:gd name="T25" fmla="*/ 358 h 1250"/>
                  <a:gd name="T26" fmla="*/ 671 w 918"/>
                  <a:gd name="T27" fmla="*/ 249 h 1250"/>
                  <a:gd name="T28" fmla="*/ 772 w 918"/>
                  <a:gd name="T29" fmla="*/ 249 h 1250"/>
                  <a:gd name="T30" fmla="*/ 853 w 918"/>
                  <a:gd name="T31" fmla="*/ 338 h 1250"/>
                  <a:gd name="T32" fmla="*/ 853 w 918"/>
                  <a:gd name="T33" fmla="*/ 1105 h 1250"/>
                  <a:gd name="T34" fmla="*/ 772 w 918"/>
                  <a:gd name="T35" fmla="*/ 1186 h 1250"/>
                  <a:gd name="T36" fmla="*/ 145 w 918"/>
                  <a:gd name="T37" fmla="*/ 1186 h 1250"/>
                  <a:gd name="T38" fmla="*/ 64 w 918"/>
                  <a:gd name="T39" fmla="*/ 1105 h 1250"/>
                  <a:gd name="T40" fmla="*/ 64 w 918"/>
                  <a:gd name="T41" fmla="*/ 338 h 1250"/>
                  <a:gd name="T42" fmla="*/ 145 w 918"/>
                  <a:gd name="T43" fmla="*/ 249 h 1250"/>
                  <a:gd name="T44" fmla="*/ 178 w 918"/>
                  <a:gd name="T45" fmla="*/ 218 h 1250"/>
                  <a:gd name="T46" fmla="*/ 147 w 918"/>
                  <a:gd name="T47" fmla="*/ 185 h 1250"/>
                  <a:gd name="T48" fmla="*/ 145 w 918"/>
                  <a:gd name="T49" fmla="*/ 185 h 1250"/>
                  <a:gd name="T50" fmla="*/ 0 w 918"/>
                  <a:gd name="T51" fmla="*/ 338 h 1250"/>
                  <a:gd name="T52" fmla="*/ 0 w 918"/>
                  <a:gd name="T53" fmla="*/ 1105 h 1250"/>
                  <a:gd name="T54" fmla="*/ 145 w 918"/>
                  <a:gd name="T55" fmla="*/ 1250 h 1250"/>
                  <a:gd name="T56" fmla="*/ 773 w 918"/>
                  <a:gd name="T57" fmla="*/ 1250 h 1250"/>
                  <a:gd name="T58" fmla="*/ 918 w 918"/>
                  <a:gd name="T59" fmla="*/ 1105 h 1250"/>
                  <a:gd name="T60" fmla="*/ 918 w 918"/>
                  <a:gd name="T61" fmla="*/ 338 h 1250"/>
                  <a:gd name="T62" fmla="*/ 773 w 918"/>
                  <a:gd name="T63" fmla="*/ 185 h 1250"/>
                  <a:gd name="T64" fmla="*/ 633 w 918"/>
                  <a:gd name="T65" fmla="*/ 185 h 1250"/>
                  <a:gd name="T66" fmla="*/ 600 w 918"/>
                  <a:gd name="T67" fmla="*/ 217 h 1250"/>
                  <a:gd name="T68" fmla="*/ 601 w 918"/>
                  <a:gd name="T69" fmla="*/ 223 h 1250"/>
                  <a:gd name="T70" fmla="*/ 621 w 918"/>
                  <a:gd name="T71" fmla="*/ 332 h 1250"/>
                  <a:gd name="T72" fmla="*/ 280 w 918"/>
                  <a:gd name="T73" fmla="*/ 332 h 1250"/>
                  <a:gd name="T74" fmla="*/ 316 w 918"/>
                  <a:gd name="T75" fmla="*/ 228 h 1250"/>
                  <a:gd name="T76" fmla="*/ 317 w 918"/>
                  <a:gd name="T77" fmla="*/ 216 h 1250"/>
                  <a:gd name="T78" fmla="*/ 314 w 918"/>
                  <a:gd name="T79" fmla="*/ 118 h 1250"/>
                  <a:gd name="T80" fmla="*/ 393 w 918"/>
                  <a:gd name="T81" fmla="*/ 118 h 1250"/>
                  <a:gd name="T82" fmla="*/ 425 w 918"/>
                  <a:gd name="T83" fmla="*/ 85 h 1250"/>
                  <a:gd name="T84" fmla="*/ 425 w 918"/>
                  <a:gd name="T85" fmla="*/ 64 h 1250"/>
                  <a:gd name="T86" fmla="*/ 464 w 918"/>
                  <a:gd name="T87" fmla="*/ 64 h 1250"/>
                  <a:gd name="T88" fmla="*/ 464 w 918"/>
                  <a:gd name="T89" fmla="*/ 85 h 1250"/>
                  <a:gd name="T90" fmla="*/ 496 w 918"/>
                  <a:gd name="T91" fmla="*/ 118 h 1250"/>
                  <a:gd name="T92" fmla="*/ 616 w 918"/>
                  <a:gd name="T93" fmla="*/ 118 h 1250"/>
                  <a:gd name="T94" fmla="*/ 649 w 918"/>
                  <a:gd name="T95" fmla="*/ 86 h 1250"/>
                  <a:gd name="T96" fmla="*/ 618 w 918"/>
                  <a:gd name="T97" fmla="*/ 54 h 1250"/>
                  <a:gd name="T98" fmla="*/ 616 w 918"/>
                  <a:gd name="T99" fmla="*/ 54 h 1250"/>
                  <a:gd name="T100" fmla="*/ 529 w 918"/>
                  <a:gd name="T101" fmla="*/ 54 h 1250"/>
                  <a:gd name="T102" fmla="*/ 529 w 918"/>
                  <a:gd name="T103" fmla="*/ 33 h 1250"/>
                  <a:gd name="T104" fmla="*/ 497 w 918"/>
                  <a:gd name="T105" fmla="*/ 0 h 1250"/>
                  <a:gd name="T106" fmla="*/ 496 w 918"/>
                  <a:gd name="T107" fmla="*/ 0 h 1250"/>
                  <a:gd name="T108" fmla="*/ 393 w 918"/>
                  <a:gd name="T109" fmla="*/ 0 h 1250"/>
                  <a:gd name="T110" fmla="*/ 390 w 918"/>
                  <a:gd name="T111" fmla="*/ 0 h 1250"/>
                  <a:gd name="T112" fmla="*/ 387 w 918"/>
                  <a:gd name="T113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18" h="1250">
                    <a:moveTo>
                      <a:pt x="387" y="0"/>
                    </a:moveTo>
                    <a:cubicBezTo>
                      <a:pt x="371" y="3"/>
                      <a:pt x="360" y="17"/>
                      <a:pt x="361" y="33"/>
                    </a:cubicBezTo>
                    <a:lnTo>
                      <a:pt x="361" y="54"/>
                    </a:lnTo>
                    <a:lnTo>
                      <a:pt x="281" y="54"/>
                    </a:lnTo>
                    <a:cubicBezTo>
                      <a:pt x="263" y="53"/>
                      <a:pt x="248" y="67"/>
                      <a:pt x="248" y="85"/>
                    </a:cubicBezTo>
                    <a:lnTo>
                      <a:pt x="248" y="86"/>
                    </a:lnTo>
                    <a:lnTo>
                      <a:pt x="252" y="213"/>
                    </a:lnTo>
                    <a:lnTo>
                      <a:pt x="204" y="354"/>
                    </a:lnTo>
                    <a:cubicBezTo>
                      <a:pt x="199" y="371"/>
                      <a:pt x="208" y="389"/>
                      <a:pt x="224" y="395"/>
                    </a:cubicBezTo>
                    <a:cubicBezTo>
                      <a:pt x="228" y="396"/>
                      <a:pt x="231" y="397"/>
                      <a:pt x="235" y="397"/>
                    </a:cubicBezTo>
                    <a:lnTo>
                      <a:pt x="659" y="397"/>
                    </a:lnTo>
                    <a:cubicBezTo>
                      <a:pt x="677" y="397"/>
                      <a:pt x="691" y="382"/>
                      <a:pt x="691" y="364"/>
                    </a:cubicBezTo>
                    <a:cubicBezTo>
                      <a:pt x="691" y="362"/>
                      <a:pt x="691" y="360"/>
                      <a:pt x="691" y="358"/>
                    </a:cubicBezTo>
                    <a:lnTo>
                      <a:pt x="671" y="249"/>
                    </a:lnTo>
                    <a:lnTo>
                      <a:pt x="772" y="249"/>
                    </a:lnTo>
                    <a:cubicBezTo>
                      <a:pt x="815" y="249"/>
                      <a:pt x="853" y="292"/>
                      <a:pt x="853" y="338"/>
                    </a:cubicBezTo>
                    <a:lnTo>
                      <a:pt x="853" y="1105"/>
                    </a:lnTo>
                    <a:cubicBezTo>
                      <a:pt x="853" y="1150"/>
                      <a:pt x="818" y="1186"/>
                      <a:pt x="772" y="1186"/>
                    </a:cubicBezTo>
                    <a:lnTo>
                      <a:pt x="145" y="1186"/>
                    </a:lnTo>
                    <a:cubicBezTo>
                      <a:pt x="100" y="1186"/>
                      <a:pt x="64" y="1150"/>
                      <a:pt x="64" y="1105"/>
                    </a:cubicBezTo>
                    <a:lnTo>
                      <a:pt x="64" y="338"/>
                    </a:lnTo>
                    <a:cubicBezTo>
                      <a:pt x="64" y="292"/>
                      <a:pt x="103" y="249"/>
                      <a:pt x="145" y="249"/>
                    </a:cubicBezTo>
                    <a:cubicBezTo>
                      <a:pt x="163" y="250"/>
                      <a:pt x="178" y="235"/>
                      <a:pt x="178" y="218"/>
                    </a:cubicBezTo>
                    <a:cubicBezTo>
                      <a:pt x="179" y="200"/>
                      <a:pt x="164" y="185"/>
                      <a:pt x="147" y="185"/>
                    </a:cubicBezTo>
                    <a:lnTo>
                      <a:pt x="145" y="185"/>
                    </a:lnTo>
                    <a:cubicBezTo>
                      <a:pt x="63" y="185"/>
                      <a:pt x="0" y="258"/>
                      <a:pt x="0" y="338"/>
                    </a:cubicBezTo>
                    <a:lnTo>
                      <a:pt x="0" y="1105"/>
                    </a:lnTo>
                    <a:cubicBezTo>
                      <a:pt x="0" y="1185"/>
                      <a:pt x="65" y="1250"/>
                      <a:pt x="145" y="1250"/>
                    </a:cubicBezTo>
                    <a:lnTo>
                      <a:pt x="773" y="1250"/>
                    </a:lnTo>
                    <a:cubicBezTo>
                      <a:pt x="852" y="1250"/>
                      <a:pt x="918" y="1185"/>
                      <a:pt x="918" y="1105"/>
                    </a:cubicBezTo>
                    <a:lnTo>
                      <a:pt x="918" y="338"/>
                    </a:lnTo>
                    <a:cubicBezTo>
                      <a:pt x="918" y="258"/>
                      <a:pt x="855" y="185"/>
                      <a:pt x="773" y="185"/>
                    </a:cubicBezTo>
                    <a:lnTo>
                      <a:pt x="633" y="185"/>
                    </a:lnTo>
                    <a:cubicBezTo>
                      <a:pt x="615" y="185"/>
                      <a:pt x="600" y="199"/>
                      <a:pt x="600" y="217"/>
                    </a:cubicBezTo>
                    <a:cubicBezTo>
                      <a:pt x="600" y="219"/>
                      <a:pt x="601" y="221"/>
                      <a:pt x="601" y="223"/>
                    </a:cubicBezTo>
                    <a:lnTo>
                      <a:pt x="621" y="332"/>
                    </a:lnTo>
                    <a:lnTo>
                      <a:pt x="280" y="332"/>
                    </a:lnTo>
                    <a:lnTo>
                      <a:pt x="316" y="228"/>
                    </a:lnTo>
                    <a:cubicBezTo>
                      <a:pt x="317" y="225"/>
                      <a:pt x="317" y="220"/>
                      <a:pt x="317" y="216"/>
                    </a:cubicBezTo>
                    <a:lnTo>
                      <a:pt x="314" y="118"/>
                    </a:lnTo>
                    <a:lnTo>
                      <a:pt x="393" y="118"/>
                    </a:lnTo>
                    <a:cubicBezTo>
                      <a:pt x="411" y="118"/>
                      <a:pt x="425" y="103"/>
                      <a:pt x="425" y="85"/>
                    </a:cubicBezTo>
                    <a:lnTo>
                      <a:pt x="425" y="64"/>
                    </a:lnTo>
                    <a:lnTo>
                      <a:pt x="464" y="64"/>
                    </a:lnTo>
                    <a:lnTo>
                      <a:pt x="464" y="85"/>
                    </a:lnTo>
                    <a:cubicBezTo>
                      <a:pt x="464" y="103"/>
                      <a:pt x="478" y="118"/>
                      <a:pt x="496" y="118"/>
                    </a:cubicBezTo>
                    <a:lnTo>
                      <a:pt x="616" y="118"/>
                    </a:lnTo>
                    <a:cubicBezTo>
                      <a:pt x="634" y="118"/>
                      <a:pt x="649" y="104"/>
                      <a:pt x="649" y="86"/>
                    </a:cubicBezTo>
                    <a:cubicBezTo>
                      <a:pt x="650" y="69"/>
                      <a:pt x="635" y="54"/>
                      <a:pt x="618" y="54"/>
                    </a:cubicBezTo>
                    <a:lnTo>
                      <a:pt x="616" y="54"/>
                    </a:lnTo>
                    <a:lnTo>
                      <a:pt x="529" y="54"/>
                    </a:lnTo>
                    <a:lnTo>
                      <a:pt x="529" y="33"/>
                    </a:lnTo>
                    <a:cubicBezTo>
                      <a:pt x="529" y="15"/>
                      <a:pt x="515" y="0"/>
                      <a:pt x="497" y="0"/>
                    </a:cubicBezTo>
                    <a:lnTo>
                      <a:pt x="496" y="0"/>
                    </a:lnTo>
                    <a:lnTo>
                      <a:pt x="393" y="0"/>
                    </a:lnTo>
                    <a:cubicBezTo>
                      <a:pt x="392" y="0"/>
                      <a:pt x="391" y="0"/>
                      <a:pt x="390" y="0"/>
                    </a:cubicBezTo>
                    <a:cubicBezTo>
                      <a:pt x="389" y="0"/>
                      <a:pt x="388" y="0"/>
                      <a:pt x="387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3" name="Clipboard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76" y="195"/>
                <a:ext cx="203" cy="218"/>
              </a:xfrm>
              <a:custGeom>
                <a:avLst/>
                <a:gdLst>
                  <a:gd name="T0" fmla="*/ 507 w 541"/>
                  <a:gd name="T1" fmla="*/ 0 h 579"/>
                  <a:gd name="T2" fmla="*/ 502 w 541"/>
                  <a:gd name="T3" fmla="*/ 1 h 579"/>
                  <a:gd name="T4" fmla="*/ 485 w 541"/>
                  <a:gd name="T5" fmla="*/ 10 h 579"/>
                  <a:gd name="T6" fmla="*/ 202 w 541"/>
                  <a:gd name="T7" fmla="*/ 293 h 579"/>
                  <a:gd name="T8" fmla="*/ 55 w 541"/>
                  <a:gd name="T9" fmla="*/ 147 h 579"/>
                  <a:gd name="T10" fmla="*/ 9 w 541"/>
                  <a:gd name="T11" fmla="*/ 147 h 579"/>
                  <a:gd name="T12" fmla="*/ 0 w 541"/>
                  <a:gd name="T13" fmla="*/ 168 h 579"/>
                  <a:gd name="T14" fmla="*/ 0 w 541"/>
                  <a:gd name="T15" fmla="*/ 373 h 579"/>
                  <a:gd name="T16" fmla="*/ 10 w 541"/>
                  <a:gd name="T17" fmla="*/ 396 h 579"/>
                  <a:gd name="T18" fmla="*/ 179 w 541"/>
                  <a:gd name="T19" fmla="*/ 566 h 579"/>
                  <a:gd name="T20" fmla="*/ 225 w 541"/>
                  <a:gd name="T21" fmla="*/ 566 h 579"/>
                  <a:gd name="T22" fmla="*/ 225 w 541"/>
                  <a:gd name="T23" fmla="*/ 566 h 579"/>
                  <a:gd name="T24" fmla="*/ 431 w 541"/>
                  <a:gd name="T25" fmla="*/ 361 h 579"/>
                  <a:gd name="T26" fmla="*/ 431 w 541"/>
                  <a:gd name="T27" fmla="*/ 315 h 579"/>
                  <a:gd name="T28" fmla="*/ 385 w 541"/>
                  <a:gd name="T29" fmla="*/ 315 h 579"/>
                  <a:gd name="T30" fmla="*/ 202 w 541"/>
                  <a:gd name="T31" fmla="*/ 497 h 579"/>
                  <a:gd name="T32" fmla="*/ 65 w 541"/>
                  <a:gd name="T33" fmla="*/ 360 h 579"/>
                  <a:gd name="T34" fmla="*/ 65 w 541"/>
                  <a:gd name="T35" fmla="*/ 246 h 579"/>
                  <a:gd name="T36" fmla="*/ 179 w 541"/>
                  <a:gd name="T37" fmla="*/ 361 h 579"/>
                  <a:gd name="T38" fmla="*/ 225 w 541"/>
                  <a:gd name="T39" fmla="*/ 361 h 579"/>
                  <a:gd name="T40" fmla="*/ 225 w 541"/>
                  <a:gd name="T41" fmla="*/ 361 h 579"/>
                  <a:gd name="T42" fmla="*/ 477 w 541"/>
                  <a:gd name="T43" fmla="*/ 110 h 579"/>
                  <a:gd name="T44" fmla="*/ 477 w 541"/>
                  <a:gd name="T45" fmla="*/ 237 h 579"/>
                  <a:gd name="T46" fmla="*/ 508 w 541"/>
                  <a:gd name="T47" fmla="*/ 270 h 579"/>
                  <a:gd name="T48" fmla="*/ 541 w 541"/>
                  <a:gd name="T49" fmla="*/ 239 h 579"/>
                  <a:gd name="T50" fmla="*/ 541 w 541"/>
                  <a:gd name="T51" fmla="*/ 237 h 579"/>
                  <a:gd name="T52" fmla="*/ 541 w 541"/>
                  <a:gd name="T53" fmla="*/ 33 h 579"/>
                  <a:gd name="T54" fmla="*/ 509 w 541"/>
                  <a:gd name="T55" fmla="*/ 0 h 579"/>
                  <a:gd name="T56" fmla="*/ 507 w 541"/>
                  <a:gd name="T57" fmla="*/ 0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41" h="579">
                    <a:moveTo>
                      <a:pt x="507" y="0"/>
                    </a:moveTo>
                    <a:cubicBezTo>
                      <a:pt x="505" y="0"/>
                      <a:pt x="504" y="1"/>
                      <a:pt x="502" y="1"/>
                    </a:cubicBezTo>
                    <a:cubicBezTo>
                      <a:pt x="496" y="2"/>
                      <a:pt x="490" y="5"/>
                      <a:pt x="485" y="10"/>
                    </a:cubicBezTo>
                    <a:lnTo>
                      <a:pt x="202" y="293"/>
                    </a:lnTo>
                    <a:lnTo>
                      <a:pt x="55" y="147"/>
                    </a:lnTo>
                    <a:cubicBezTo>
                      <a:pt x="42" y="134"/>
                      <a:pt x="22" y="134"/>
                      <a:pt x="9" y="147"/>
                    </a:cubicBezTo>
                    <a:cubicBezTo>
                      <a:pt x="4" y="153"/>
                      <a:pt x="1" y="160"/>
                      <a:pt x="0" y="168"/>
                    </a:cubicBezTo>
                    <a:lnTo>
                      <a:pt x="0" y="373"/>
                    </a:lnTo>
                    <a:cubicBezTo>
                      <a:pt x="0" y="381"/>
                      <a:pt x="4" y="390"/>
                      <a:pt x="10" y="396"/>
                    </a:cubicBezTo>
                    <a:lnTo>
                      <a:pt x="179" y="566"/>
                    </a:lnTo>
                    <a:cubicBezTo>
                      <a:pt x="192" y="579"/>
                      <a:pt x="212" y="579"/>
                      <a:pt x="225" y="566"/>
                    </a:cubicBezTo>
                    <a:cubicBezTo>
                      <a:pt x="225" y="566"/>
                      <a:pt x="225" y="566"/>
                      <a:pt x="225" y="566"/>
                    </a:cubicBezTo>
                    <a:lnTo>
                      <a:pt x="431" y="361"/>
                    </a:lnTo>
                    <a:cubicBezTo>
                      <a:pt x="443" y="348"/>
                      <a:pt x="443" y="327"/>
                      <a:pt x="431" y="315"/>
                    </a:cubicBezTo>
                    <a:cubicBezTo>
                      <a:pt x="418" y="302"/>
                      <a:pt x="398" y="302"/>
                      <a:pt x="385" y="315"/>
                    </a:cubicBezTo>
                    <a:lnTo>
                      <a:pt x="202" y="497"/>
                    </a:lnTo>
                    <a:lnTo>
                      <a:pt x="65" y="360"/>
                    </a:lnTo>
                    <a:lnTo>
                      <a:pt x="65" y="246"/>
                    </a:lnTo>
                    <a:lnTo>
                      <a:pt x="179" y="361"/>
                    </a:lnTo>
                    <a:cubicBezTo>
                      <a:pt x="192" y="373"/>
                      <a:pt x="212" y="373"/>
                      <a:pt x="225" y="361"/>
                    </a:cubicBezTo>
                    <a:cubicBezTo>
                      <a:pt x="225" y="361"/>
                      <a:pt x="225" y="361"/>
                      <a:pt x="225" y="361"/>
                    </a:cubicBezTo>
                    <a:lnTo>
                      <a:pt x="477" y="110"/>
                    </a:lnTo>
                    <a:lnTo>
                      <a:pt x="477" y="237"/>
                    </a:lnTo>
                    <a:cubicBezTo>
                      <a:pt x="476" y="255"/>
                      <a:pt x="490" y="270"/>
                      <a:pt x="508" y="270"/>
                    </a:cubicBezTo>
                    <a:cubicBezTo>
                      <a:pt x="526" y="270"/>
                      <a:pt x="541" y="256"/>
                      <a:pt x="541" y="239"/>
                    </a:cubicBezTo>
                    <a:lnTo>
                      <a:pt x="541" y="237"/>
                    </a:lnTo>
                    <a:lnTo>
                      <a:pt x="541" y="33"/>
                    </a:lnTo>
                    <a:cubicBezTo>
                      <a:pt x="541" y="15"/>
                      <a:pt x="527" y="0"/>
                      <a:pt x="509" y="0"/>
                    </a:cubicBezTo>
                    <a:cubicBezTo>
                      <a:pt x="509" y="0"/>
                      <a:pt x="508" y="0"/>
                      <a:pt x="507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81" name="TextBox 580"/>
            <p:cNvSpPr txBox="1"/>
            <p:nvPr/>
          </p:nvSpPr>
          <p:spPr>
            <a:xfrm>
              <a:off x="3525492" y="3974171"/>
              <a:ext cx="120302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   </a:t>
              </a:r>
              <a:r>
                <a:rPr lang="en-US" dirty="0" err="1" smtClean="0"/>
                <a:t>Recogido</a:t>
              </a:r>
              <a:endParaRPr lang="en-US" dirty="0"/>
            </a:p>
          </p:txBody>
        </p:sp>
      </p:grpSp>
      <p:sp>
        <p:nvSpPr>
          <p:cNvPr id="599" name="Lightning Bolt 598"/>
          <p:cNvSpPr/>
          <p:nvPr/>
        </p:nvSpPr>
        <p:spPr>
          <a:xfrm>
            <a:off x="6272536" y="5685759"/>
            <a:ext cx="548640" cy="888423"/>
          </a:xfrm>
          <a:prstGeom prst="lightningBol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00" name="Group 599"/>
          <p:cNvGrpSpPr/>
          <p:nvPr/>
        </p:nvGrpSpPr>
        <p:grpSpPr>
          <a:xfrm>
            <a:off x="6286011" y="3005723"/>
            <a:ext cx="863547" cy="740074"/>
            <a:chOff x="10565911" y="2219026"/>
            <a:chExt cx="863547" cy="740074"/>
          </a:xfrm>
        </p:grpSpPr>
        <p:grpSp>
          <p:nvGrpSpPr>
            <p:cNvPr id="601" name="Group 600"/>
            <p:cNvGrpSpPr/>
            <p:nvPr/>
          </p:nvGrpSpPr>
          <p:grpSpPr>
            <a:xfrm>
              <a:off x="10565911" y="2219026"/>
              <a:ext cx="476656" cy="740074"/>
              <a:chOff x="7913883" y="3501752"/>
              <a:chExt cx="476656" cy="740074"/>
            </a:xfrm>
          </p:grpSpPr>
          <p:grpSp>
            <p:nvGrpSpPr>
              <p:cNvPr id="603" name="Document2"/>
              <p:cNvGrpSpPr>
                <a:grpSpLocks noChangeAspect="1"/>
              </p:cNvGrpSpPr>
              <p:nvPr>
                <p:custDataLst>
                  <p:tags r:id="rId31"/>
                </p:custDataLst>
              </p:nvPr>
            </p:nvGrpSpPr>
            <p:grpSpPr bwMode="auto">
              <a:xfrm>
                <a:off x="7913883" y="3501752"/>
                <a:ext cx="414049" cy="542925"/>
                <a:chOff x="176" y="141"/>
                <a:chExt cx="151" cy="198"/>
              </a:xfrm>
              <a:solidFill>
                <a:schemeClr val="accent1"/>
              </a:solidFill>
            </p:grpSpPr>
            <p:sp>
              <p:nvSpPr>
                <p:cNvPr id="608" name="Document2"/>
                <p:cNvSpPr>
                  <a:spLocks noEditPoints="1"/>
                </p:cNvSpPr>
                <p:nvPr>
                  <p:custDataLst>
                    <p:tags r:id="rId33"/>
                  </p:custDataLst>
                </p:nvPr>
              </p:nvSpPr>
              <p:spPr bwMode="auto">
                <a:xfrm>
                  <a:off x="176" y="141"/>
                  <a:ext cx="151" cy="198"/>
                </a:xfrm>
                <a:custGeom>
                  <a:avLst/>
                  <a:gdLst>
                    <a:gd name="T0" fmla="*/ 388 w 401"/>
                    <a:gd name="T1" fmla="*/ 525 h 525"/>
                    <a:gd name="T2" fmla="*/ 13 w 401"/>
                    <a:gd name="T3" fmla="*/ 525 h 525"/>
                    <a:gd name="T4" fmla="*/ 0 w 401"/>
                    <a:gd name="T5" fmla="*/ 512 h 525"/>
                    <a:gd name="T6" fmla="*/ 0 w 401"/>
                    <a:gd name="T7" fmla="*/ 12 h 525"/>
                    <a:gd name="T8" fmla="*/ 13 w 401"/>
                    <a:gd name="T9" fmla="*/ 0 h 525"/>
                    <a:gd name="T10" fmla="*/ 388 w 401"/>
                    <a:gd name="T11" fmla="*/ 0 h 525"/>
                    <a:gd name="T12" fmla="*/ 401 w 401"/>
                    <a:gd name="T13" fmla="*/ 12 h 525"/>
                    <a:gd name="T14" fmla="*/ 401 w 401"/>
                    <a:gd name="T15" fmla="*/ 512 h 525"/>
                    <a:gd name="T16" fmla="*/ 388 w 401"/>
                    <a:gd name="T17" fmla="*/ 525 h 525"/>
                    <a:gd name="T18" fmla="*/ 25 w 401"/>
                    <a:gd name="T19" fmla="*/ 500 h 525"/>
                    <a:gd name="T20" fmla="*/ 376 w 401"/>
                    <a:gd name="T21" fmla="*/ 500 h 525"/>
                    <a:gd name="T22" fmla="*/ 376 w 401"/>
                    <a:gd name="T23" fmla="*/ 25 h 525"/>
                    <a:gd name="T24" fmla="*/ 25 w 401"/>
                    <a:gd name="T25" fmla="*/ 25 h 525"/>
                    <a:gd name="T26" fmla="*/ 25 w 401"/>
                    <a:gd name="T27" fmla="*/ 500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1" h="525">
                      <a:moveTo>
                        <a:pt x="388" y="525"/>
                      </a:moveTo>
                      <a:lnTo>
                        <a:pt x="13" y="525"/>
                      </a:lnTo>
                      <a:cubicBezTo>
                        <a:pt x="5" y="525"/>
                        <a:pt x="0" y="520"/>
                        <a:pt x="0" y="512"/>
                      </a:cubicBezTo>
                      <a:lnTo>
                        <a:pt x="0" y="12"/>
                      </a:lnTo>
                      <a:cubicBezTo>
                        <a:pt x="0" y="5"/>
                        <a:pt x="5" y="0"/>
                        <a:pt x="13" y="0"/>
                      </a:cubicBezTo>
                      <a:lnTo>
                        <a:pt x="388" y="0"/>
                      </a:lnTo>
                      <a:cubicBezTo>
                        <a:pt x="395" y="0"/>
                        <a:pt x="401" y="5"/>
                        <a:pt x="401" y="12"/>
                      </a:cubicBezTo>
                      <a:lnTo>
                        <a:pt x="401" y="512"/>
                      </a:lnTo>
                      <a:cubicBezTo>
                        <a:pt x="401" y="520"/>
                        <a:pt x="394" y="525"/>
                        <a:pt x="388" y="525"/>
                      </a:cubicBezTo>
                      <a:close/>
                      <a:moveTo>
                        <a:pt x="25" y="500"/>
                      </a:moveTo>
                      <a:lnTo>
                        <a:pt x="376" y="500"/>
                      </a:lnTo>
                      <a:lnTo>
                        <a:pt x="376" y="25"/>
                      </a:lnTo>
                      <a:lnTo>
                        <a:pt x="25" y="25"/>
                      </a:lnTo>
                      <a:lnTo>
                        <a:pt x="25" y="50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09" name="Document2"/>
                <p:cNvSpPr>
                  <a:spLocks noChangeArrowheads="1"/>
                </p:cNvSpPr>
                <p:nvPr>
                  <p:custDataLst>
                    <p:tags r:id="rId34"/>
                  </p:custDataLst>
                </p:nvPr>
              </p:nvSpPr>
              <p:spPr bwMode="auto">
                <a:xfrm>
                  <a:off x="205" y="239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10" name="Document2"/>
                <p:cNvSpPr>
                  <a:spLocks noChangeArrowheads="1"/>
                </p:cNvSpPr>
                <p:nvPr>
                  <p:custDataLst>
                    <p:tags r:id="rId35"/>
                  </p:custDataLst>
                </p:nvPr>
              </p:nvSpPr>
              <p:spPr bwMode="auto">
                <a:xfrm>
                  <a:off x="205" y="267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11" name="Document2"/>
                <p:cNvSpPr>
                  <a:spLocks noChangeArrowheads="1"/>
                </p:cNvSpPr>
                <p:nvPr>
                  <p:custDataLst>
                    <p:tags r:id="rId36"/>
                  </p:custDataLst>
                </p:nvPr>
              </p:nvSpPr>
              <p:spPr bwMode="auto">
                <a:xfrm>
                  <a:off x="205" y="295"/>
                  <a:ext cx="94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12" name="Document2"/>
                <p:cNvSpPr>
                  <a:spLocks noChangeArrowheads="1"/>
                </p:cNvSpPr>
                <p:nvPr>
                  <p:custDataLst>
                    <p:tags r:id="rId37"/>
                  </p:custDataLst>
                </p:nvPr>
              </p:nvSpPr>
              <p:spPr bwMode="auto">
                <a:xfrm>
                  <a:off x="252" y="182"/>
                  <a:ext cx="47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13" name="Document2"/>
                <p:cNvSpPr>
                  <a:spLocks noChangeArrowheads="1"/>
                </p:cNvSpPr>
                <p:nvPr>
                  <p:custDataLst>
                    <p:tags r:id="rId38"/>
                  </p:custDataLst>
                </p:nvPr>
              </p:nvSpPr>
              <p:spPr bwMode="auto">
                <a:xfrm>
                  <a:off x="252" y="211"/>
                  <a:ext cx="47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14" name="Document2"/>
                <p:cNvSpPr>
                  <a:spLocks/>
                </p:cNvSpPr>
                <p:nvPr>
                  <p:custDataLst>
                    <p:tags r:id="rId39"/>
                  </p:custDataLst>
                </p:nvPr>
              </p:nvSpPr>
              <p:spPr bwMode="auto">
                <a:xfrm>
                  <a:off x="206" y="182"/>
                  <a:ext cx="36" cy="37"/>
                </a:xfrm>
                <a:custGeom>
                  <a:avLst/>
                  <a:gdLst>
                    <a:gd name="T0" fmla="*/ 49 w 98"/>
                    <a:gd name="T1" fmla="*/ 97 h 97"/>
                    <a:gd name="T2" fmla="*/ 49 w 98"/>
                    <a:gd name="T3" fmla="*/ 97 h 97"/>
                    <a:gd name="T4" fmla="*/ 0 w 98"/>
                    <a:gd name="T5" fmla="*/ 48 h 97"/>
                    <a:gd name="T6" fmla="*/ 0 w 98"/>
                    <a:gd name="T7" fmla="*/ 48 h 97"/>
                    <a:gd name="T8" fmla="*/ 49 w 98"/>
                    <a:gd name="T9" fmla="*/ 0 h 97"/>
                    <a:gd name="T10" fmla="*/ 49 w 98"/>
                    <a:gd name="T11" fmla="*/ 0 h 97"/>
                    <a:gd name="T12" fmla="*/ 98 w 98"/>
                    <a:gd name="T13" fmla="*/ 48 h 97"/>
                    <a:gd name="T14" fmla="*/ 98 w 98"/>
                    <a:gd name="T15" fmla="*/ 48 h 97"/>
                    <a:gd name="T16" fmla="*/ 49 w 98"/>
                    <a:gd name="T17" fmla="*/ 97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8" h="97">
                      <a:moveTo>
                        <a:pt x="49" y="97"/>
                      </a:moveTo>
                      <a:lnTo>
                        <a:pt x="49" y="97"/>
                      </a:lnTo>
                      <a:cubicBezTo>
                        <a:pt x="22" y="97"/>
                        <a:pt x="0" y="75"/>
                        <a:pt x="0" y="48"/>
                      </a:cubicBezTo>
                      <a:lnTo>
                        <a:pt x="0" y="48"/>
                      </a:lnTo>
                      <a:cubicBezTo>
                        <a:pt x="0" y="21"/>
                        <a:pt x="23" y="0"/>
                        <a:pt x="49" y="0"/>
                      </a:cubicBezTo>
                      <a:lnTo>
                        <a:pt x="49" y="0"/>
                      </a:lnTo>
                      <a:cubicBezTo>
                        <a:pt x="77" y="0"/>
                        <a:pt x="98" y="22"/>
                        <a:pt x="98" y="48"/>
                      </a:cubicBezTo>
                      <a:lnTo>
                        <a:pt x="98" y="48"/>
                      </a:lnTo>
                      <a:cubicBezTo>
                        <a:pt x="98" y="76"/>
                        <a:pt x="77" y="97"/>
                        <a:pt x="49" y="97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604" name="Award"/>
              <p:cNvGrpSpPr>
                <a:grpSpLocks noChangeAspect="1"/>
              </p:cNvGrpSpPr>
              <p:nvPr>
                <p:custDataLst>
                  <p:tags r:id="rId32"/>
                </p:custDataLst>
              </p:nvPr>
            </p:nvGrpSpPr>
            <p:grpSpPr>
              <a:xfrm>
                <a:off x="8124621" y="3822850"/>
                <a:ext cx="265918" cy="418976"/>
                <a:chOff x="5941649" y="3440456"/>
                <a:chExt cx="2051465" cy="3232250"/>
              </a:xfrm>
              <a:solidFill>
                <a:schemeClr val="accent1"/>
              </a:solidFill>
            </p:grpSpPr>
            <p:sp>
              <p:nvSpPr>
                <p:cNvPr id="605" name="Freeform: Shape 683"/>
                <p:cNvSpPr>
                  <a:spLocks/>
                </p:cNvSpPr>
                <p:nvPr/>
              </p:nvSpPr>
              <p:spPr bwMode="auto">
                <a:xfrm>
                  <a:off x="5941649" y="3440456"/>
                  <a:ext cx="2051465" cy="2053850"/>
                </a:xfrm>
                <a:custGeom>
                  <a:avLst/>
                  <a:gdLst>
                    <a:gd name="connsiteX0" fmla="*/ 999938 w 2051465"/>
                    <a:gd name="connsiteY0" fmla="*/ 1647136 h 2053850"/>
                    <a:gd name="connsiteX1" fmla="*/ 1004820 w 2051465"/>
                    <a:gd name="connsiteY1" fmla="*/ 1675527 h 2053850"/>
                    <a:gd name="connsiteX2" fmla="*/ 983988 w 2051465"/>
                    <a:gd name="connsiteY2" fmla="*/ 1695690 h 2053850"/>
                    <a:gd name="connsiteX3" fmla="*/ 1012795 w 2051465"/>
                    <a:gd name="connsiteY3" fmla="*/ 1699884 h 2053850"/>
                    <a:gd name="connsiteX4" fmla="*/ 1025815 w 2051465"/>
                    <a:gd name="connsiteY4" fmla="*/ 1725855 h 2053850"/>
                    <a:gd name="connsiteX5" fmla="*/ 1038672 w 2051465"/>
                    <a:gd name="connsiteY5" fmla="*/ 1699884 h 2053850"/>
                    <a:gd name="connsiteX6" fmla="*/ 1067478 w 2051465"/>
                    <a:gd name="connsiteY6" fmla="*/ 1695690 h 2053850"/>
                    <a:gd name="connsiteX7" fmla="*/ 1046646 w 2051465"/>
                    <a:gd name="connsiteY7" fmla="*/ 1675527 h 2053850"/>
                    <a:gd name="connsiteX8" fmla="*/ 1051529 w 2051465"/>
                    <a:gd name="connsiteY8" fmla="*/ 1647136 h 2053850"/>
                    <a:gd name="connsiteX9" fmla="*/ 1025815 w 2051465"/>
                    <a:gd name="connsiteY9" fmla="*/ 1660525 h 2053850"/>
                    <a:gd name="connsiteX10" fmla="*/ 1158095 w 2051465"/>
                    <a:gd name="connsiteY10" fmla="*/ 1634016 h 2053850"/>
                    <a:gd name="connsiteX11" fmla="*/ 1135334 w 2051465"/>
                    <a:gd name="connsiteY11" fmla="*/ 1651418 h 2053850"/>
                    <a:gd name="connsiteX12" fmla="*/ 1108086 w 2051465"/>
                    <a:gd name="connsiteY12" fmla="*/ 1642797 h 2053850"/>
                    <a:gd name="connsiteX13" fmla="*/ 1117703 w 2051465"/>
                    <a:gd name="connsiteY13" fmla="*/ 1669779 h 2053850"/>
                    <a:gd name="connsiteX14" fmla="*/ 1100873 w 2051465"/>
                    <a:gd name="connsiteY14" fmla="*/ 1692928 h 2053850"/>
                    <a:gd name="connsiteX15" fmla="*/ 1129724 w 2051465"/>
                    <a:gd name="connsiteY15" fmla="*/ 1692130 h 2053850"/>
                    <a:gd name="connsiteX16" fmla="*/ 1146715 w 2051465"/>
                    <a:gd name="connsiteY16" fmla="*/ 1715120 h 2053850"/>
                    <a:gd name="connsiteX17" fmla="*/ 1154729 w 2051465"/>
                    <a:gd name="connsiteY17" fmla="*/ 1687660 h 2053850"/>
                    <a:gd name="connsiteX18" fmla="*/ 1181977 w 2051465"/>
                    <a:gd name="connsiteY18" fmla="*/ 1678719 h 2053850"/>
                    <a:gd name="connsiteX19" fmla="*/ 1158255 w 2051465"/>
                    <a:gd name="connsiteY19" fmla="*/ 1662594 h 2053850"/>
                    <a:gd name="connsiteX20" fmla="*/ 892528 w 2051465"/>
                    <a:gd name="connsiteY20" fmla="*/ 1634016 h 2053850"/>
                    <a:gd name="connsiteX21" fmla="*/ 892365 w 2051465"/>
                    <a:gd name="connsiteY21" fmla="*/ 1662594 h 2053850"/>
                    <a:gd name="connsiteX22" fmla="*/ 868294 w 2051465"/>
                    <a:gd name="connsiteY22" fmla="*/ 1678719 h 2053850"/>
                    <a:gd name="connsiteX23" fmla="*/ 895943 w 2051465"/>
                    <a:gd name="connsiteY23" fmla="*/ 1687660 h 2053850"/>
                    <a:gd name="connsiteX24" fmla="*/ 904076 w 2051465"/>
                    <a:gd name="connsiteY24" fmla="*/ 1715120 h 2053850"/>
                    <a:gd name="connsiteX25" fmla="*/ 921316 w 2051465"/>
                    <a:gd name="connsiteY25" fmla="*/ 1692130 h 2053850"/>
                    <a:gd name="connsiteX26" fmla="*/ 950591 w 2051465"/>
                    <a:gd name="connsiteY26" fmla="*/ 1692928 h 2053850"/>
                    <a:gd name="connsiteX27" fmla="*/ 933514 w 2051465"/>
                    <a:gd name="connsiteY27" fmla="*/ 1669779 h 2053850"/>
                    <a:gd name="connsiteX28" fmla="*/ 943272 w 2051465"/>
                    <a:gd name="connsiteY28" fmla="*/ 1642797 h 2053850"/>
                    <a:gd name="connsiteX29" fmla="*/ 915623 w 2051465"/>
                    <a:gd name="connsiteY29" fmla="*/ 1651418 h 2053850"/>
                    <a:gd name="connsiteX30" fmla="*/ 1261194 w 2051465"/>
                    <a:gd name="connsiteY30" fmla="*/ 1600620 h 2053850"/>
                    <a:gd name="connsiteX31" fmla="*/ 1241782 w 2051465"/>
                    <a:gd name="connsiteY31" fmla="*/ 1622103 h 2053850"/>
                    <a:gd name="connsiteX32" fmla="*/ 1212988 w 2051465"/>
                    <a:gd name="connsiteY32" fmla="*/ 1618197 h 2053850"/>
                    <a:gd name="connsiteX33" fmla="*/ 1227385 w 2051465"/>
                    <a:gd name="connsiteY33" fmla="*/ 1643586 h 2053850"/>
                    <a:gd name="connsiteX34" fmla="*/ 1214768 w 2051465"/>
                    <a:gd name="connsiteY34" fmla="*/ 1669951 h 2053850"/>
                    <a:gd name="connsiteX35" fmla="*/ 1243238 w 2051465"/>
                    <a:gd name="connsiteY35" fmla="*/ 1663929 h 2053850"/>
                    <a:gd name="connsiteX36" fmla="*/ 1264106 w 2051465"/>
                    <a:gd name="connsiteY36" fmla="*/ 1684110 h 2053850"/>
                    <a:gd name="connsiteX37" fmla="*/ 1267341 w 2051465"/>
                    <a:gd name="connsiteY37" fmla="*/ 1655141 h 2053850"/>
                    <a:gd name="connsiteX38" fmla="*/ 1292900 w 2051465"/>
                    <a:gd name="connsiteY38" fmla="*/ 1641307 h 2053850"/>
                    <a:gd name="connsiteX39" fmla="*/ 1266371 w 2051465"/>
                    <a:gd name="connsiteY39" fmla="*/ 1629264 h 2053850"/>
                    <a:gd name="connsiteX40" fmla="*/ 789798 w 2051465"/>
                    <a:gd name="connsiteY40" fmla="*/ 1600620 h 2053850"/>
                    <a:gd name="connsiteX41" fmla="*/ 784699 w 2051465"/>
                    <a:gd name="connsiteY41" fmla="*/ 1629264 h 2053850"/>
                    <a:gd name="connsiteX42" fmla="*/ 758565 w 2051465"/>
                    <a:gd name="connsiteY42" fmla="*/ 1641307 h 2053850"/>
                    <a:gd name="connsiteX43" fmla="*/ 783743 w 2051465"/>
                    <a:gd name="connsiteY43" fmla="*/ 1655141 h 2053850"/>
                    <a:gd name="connsiteX44" fmla="*/ 786930 w 2051465"/>
                    <a:gd name="connsiteY44" fmla="*/ 1684110 h 2053850"/>
                    <a:gd name="connsiteX45" fmla="*/ 807486 w 2051465"/>
                    <a:gd name="connsiteY45" fmla="*/ 1663929 h 2053850"/>
                    <a:gd name="connsiteX46" fmla="*/ 835531 w 2051465"/>
                    <a:gd name="connsiteY46" fmla="*/ 1669951 h 2053850"/>
                    <a:gd name="connsiteX47" fmla="*/ 823102 w 2051465"/>
                    <a:gd name="connsiteY47" fmla="*/ 1643586 h 2053850"/>
                    <a:gd name="connsiteX48" fmla="*/ 837284 w 2051465"/>
                    <a:gd name="connsiteY48" fmla="*/ 1618197 h 2053850"/>
                    <a:gd name="connsiteX49" fmla="*/ 808920 w 2051465"/>
                    <a:gd name="connsiteY49" fmla="*/ 1622103 h 2053850"/>
                    <a:gd name="connsiteX50" fmla="*/ 1357465 w 2051465"/>
                    <a:gd name="connsiteY50" fmla="*/ 1551719 h 2053850"/>
                    <a:gd name="connsiteX51" fmla="*/ 1342004 w 2051465"/>
                    <a:gd name="connsiteY51" fmla="*/ 1576277 h 2053850"/>
                    <a:gd name="connsiteX52" fmla="*/ 1313176 w 2051465"/>
                    <a:gd name="connsiteY52" fmla="*/ 1577408 h 2053850"/>
                    <a:gd name="connsiteX53" fmla="*/ 1331697 w 2051465"/>
                    <a:gd name="connsiteY53" fmla="*/ 1599703 h 2053850"/>
                    <a:gd name="connsiteX54" fmla="*/ 1323806 w 2051465"/>
                    <a:gd name="connsiteY54" fmla="*/ 1627492 h 2053850"/>
                    <a:gd name="connsiteX55" fmla="*/ 1350701 w 2051465"/>
                    <a:gd name="connsiteY55" fmla="*/ 1616829 h 2053850"/>
                    <a:gd name="connsiteX56" fmla="*/ 1374698 w 2051465"/>
                    <a:gd name="connsiteY56" fmla="*/ 1632823 h 2053850"/>
                    <a:gd name="connsiteX57" fmla="*/ 1372765 w 2051465"/>
                    <a:gd name="connsiteY57" fmla="*/ 1603904 h 2053850"/>
                    <a:gd name="connsiteX58" fmla="*/ 1395473 w 2051465"/>
                    <a:gd name="connsiteY58" fmla="*/ 1585970 h 2053850"/>
                    <a:gd name="connsiteX59" fmla="*/ 1367450 w 2051465"/>
                    <a:gd name="connsiteY59" fmla="*/ 1578862 h 2053850"/>
                    <a:gd name="connsiteX60" fmla="*/ 694000 w 2051465"/>
                    <a:gd name="connsiteY60" fmla="*/ 1551719 h 2053850"/>
                    <a:gd name="connsiteX61" fmla="*/ 684015 w 2051465"/>
                    <a:gd name="connsiteY61" fmla="*/ 1578862 h 2053850"/>
                    <a:gd name="connsiteX62" fmla="*/ 655992 w 2051465"/>
                    <a:gd name="connsiteY62" fmla="*/ 1585970 h 2053850"/>
                    <a:gd name="connsiteX63" fmla="*/ 678700 w 2051465"/>
                    <a:gd name="connsiteY63" fmla="*/ 1603904 h 2053850"/>
                    <a:gd name="connsiteX64" fmla="*/ 676768 w 2051465"/>
                    <a:gd name="connsiteY64" fmla="*/ 1632823 h 2053850"/>
                    <a:gd name="connsiteX65" fmla="*/ 700764 w 2051465"/>
                    <a:gd name="connsiteY65" fmla="*/ 1616829 h 2053850"/>
                    <a:gd name="connsiteX66" fmla="*/ 727660 w 2051465"/>
                    <a:gd name="connsiteY66" fmla="*/ 1627492 h 2053850"/>
                    <a:gd name="connsiteX67" fmla="*/ 719768 w 2051465"/>
                    <a:gd name="connsiteY67" fmla="*/ 1599703 h 2053850"/>
                    <a:gd name="connsiteX68" fmla="*/ 738289 w 2051465"/>
                    <a:gd name="connsiteY68" fmla="*/ 1577408 h 2053850"/>
                    <a:gd name="connsiteX69" fmla="*/ 709461 w 2051465"/>
                    <a:gd name="connsiteY69" fmla="*/ 1576277 h 2053850"/>
                    <a:gd name="connsiteX70" fmla="*/ 1442881 w 2051465"/>
                    <a:gd name="connsiteY70" fmla="*/ 1486119 h 2053850"/>
                    <a:gd name="connsiteX71" fmla="*/ 1431951 w 2051465"/>
                    <a:gd name="connsiteY71" fmla="*/ 1512757 h 2053850"/>
                    <a:gd name="connsiteX72" fmla="*/ 1403822 w 2051465"/>
                    <a:gd name="connsiteY72" fmla="*/ 1518854 h 2053850"/>
                    <a:gd name="connsiteX73" fmla="*/ 1425843 w 2051465"/>
                    <a:gd name="connsiteY73" fmla="*/ 1537468 h 2053850"/>
                    <a:gd name="connsiteX74" fmla="*/ 1422950 w 2051465"/>
                    <a:gd name="connsiteY74" fmla="*/ 1566031 h 2053850"/>
                    <a:gd name="connsiteX75" fmla="*/ 1447382 w 2051465"/>
                    <a:gd name="connsiteY75" fmla="*/ 1550947 h 2053850"/>
                    <a:gd name="connsiteX76" fmla="*/ 1473743 w 2051465"/>
                    <a:gd name="connsiteY76" fmla="*/ 1562501 h 2053850"/>
                    <a:gd name="connsiteX77" fmla="*/ 1466992 w 2051465"/>
                    <a:gd name="connsiteY77" fmla="*/ 1534580 h 2053850"/>
                    <a:gd name="connsiteX78" fmla="*/ 1486119 w 2051465"/>
                    <a:gd name="connsiteY78" fmla="*/ 1513078 h 2053850"/>
                    <a:gd name="connsiteX79" fmla="*/ 1457347 w 2051465"/>
                    <a:gd name="connsiteY79" fmla="*/ 1510831 h 2053850"/>
                    <a:gd name="connsiteX80" fmla="*/ 607391 w 2051465"/>
                    <a:gd name="connsiteY80" fmla="*/ 1486119 h 2053850"/>
                    <a:gd name="connsiteX81" fmla="*/ 592925 w 2051465"/>
                    <a:gd name="connsiteY81" fmla="*/ 1510831 h 2053850"/>
                    <a:gd name="connsiteX82" fmla="*/ 564153 w 2051465"/>
                    <a:gd name="connsiteY82" fmla="*/ 1513078 h 2053850"/>
                    <a:gd name="connsiteX83" fmla="*/ 583281 w 2051465"/>
                    <a:gd name="connsiteY83" fmla="*/ 1534580 h 2053850"/>
                    <a:gd name="connsiteX84" fmla="*/ 576530 w 2051465"/>
                    <a:gd name="connsiteY84" fmla="*/ 1562501 h 2053850"/>
                    <a:gd name="connsiteX85" fmla="*/ 602891 w 2051465"/>
                    <a:gd name="connsiteY85" fmla="*/ 1550947 h 2053850"/>
                    <a:gd name="connsiteX86" fmla="*/ 627323 w 2051465"/>
                    <a:gd name="connsiteY86" fmla="*/ 1566031 h 2053850"/>
                    <a:gd name="connsiteX87" fmla="*/ 624429 w 2051465"/>
                    <a:gd name="connsiteY87" fmla="*/ 1537468 h 2053850"/>
                    <a:gd name="connsiteX88" fmla="*/ 646450 w 2051465"/>
                    <a:gd name="connsiteY88" fmla="*/ 1518854 h 2053850"/>
                    <a:gd name="connsiteX89" fmla="*/ 618321 w 2051465"/>
                    <a:gd name="connsiteY89" fmla="*/ 1512757 h 2053850"/>
                    <a:gd name="connsiteX90" fmla="*/ 1516404 w 2051465"/>
                    <a:gd name="connsiteY90" fmla="*/ 1406208 h 2053850"/>
                    <a:gd name="connsiteX91" fmla="*/ 1510318 w 2051465"/>
                    <a:gd name="connsiteY91" fmla="*/ 1434337 h 2053850"/>
                    <a:gd name="connsiteX92" fmla="*/ 1483734 w 2051465"/>
                    <a:gd name="connsiteY92" fmla="*/ 1445267 h 2053850"/>
                    <a:gd name="connsiteX93" fmla="*/ 1508557 w 2051465"/>
                    <a:gd name="connsiteY93" fmla="*/ 1459894 h 2053850"/>
                    <a:gd name="connsiteX94" fmla="*/ 1510799 w 2051465"/>
                    <a:gd name="connsiteY94" fmla="*/ 1488505 h 2053850"/>
                    <a:gd name="connsiteX95" fmla="*/ 1532098 w 2051465"/>
                    <a:gd name="connsiteY95" fmla="*/ 1469378 h 2053850"/>
                    <a:gd name="connsiteX96" fmla="*/ 1560123 w 2051465"/>
                    <a:gd name="connsiteY96" fmla="*/ 1476289 h 2053850"/>
                    <a:gd name="connsiteX97" fmla="*/ 1548593 w 2051465"/>
                    <a:gd name="connsiteY97" fmla="*/ 1449768 h 2053850"/>
                    <a:gd name="connsiteX98" fmla="*/ 1563646 w 2051465"/>
                    <a:gd name="connsiteY98" fmla="*/ 1425336 h 2053850"/>
                    <a:gd name="connsiteX99" fmla="*/ 1534980 w 2051465"/>
                    <a:gd name="connsiteY99" fmla="*/ 1428229 h 2053850"/>
                    <a:gd name="connsiteX100" fmla="*/ 534575 w 2051465"/>
                    <a:gd name="connsiteY100" fmla="*/ 1406208 h 2053850"/>
                    <a:gd name="connsiteX101" fmla="*/ 515721 w 2051465"/>
                    <a:gd name="connsiteY101" fmla="*/ 1428229 h 2053850"/>
                    <a:gd name="connsiteX102" fmla="*/ 486627 w 2051465"/>
                    <a:gd name="connsiteY102" fmla="*/ 1425336 h 2053850"/>
                    <a:gd name="connsiteX103" fmla="*/ 502068 w 2051465"/>
                    <a:gd name="connsiteY103" fmla="*/ 1449768 h 2053850"/>
                    <a:gd name="connsiteX104" fmla="*/ 490203 w 2051465"/>
                    <a:gd name="connsiteY104" fmla="*/ 1476289 h 2053850"/>
                    <a:gd name="connsiteX105" fmla="*/ 518646 w 2051465"/>
                    <a:gd name="connsiteY105" fmla="*/ 1469378 h 2053850"/>
                    <a:gd name="connsiteX106" fmla="*/ 540263 w 2051465"/>
                    <a:gd name="connsiteY106" fmla="*/ 1488505 h 2053850"/>
                    <a:gd name="connsiteX107" fmla="*/ 542539 w 2051465"/>
                    <a:gd name="connsiteY107" fmla="*/ 1459894 h 2053850"/>
                    <a:gd name="connsiteX108" fmla="*/ 567731 w 2051465"/>
                    <a:gd name="connsiteY108" fmla="*/ 1445267 h 2053850"/>
                    <a:gd name="connsiteX109" fmla="*/ 540751 w 2051465"/>
                    <a:gd name="connsiteY109" fmla="*/ 1434337 h 2053850"/>
                    <a:gd name="connsiteX110" fmla="*/ 1575022 w 2051465"/>
                    <a:gd name="connsiteY110" fmla="*/ 1315562 h 2053850"/>
                    <a:gd name="connsiteX111" fmla="*/ 1573729 w 2051465"/>
                    <a:gd name="connsiteY111" fmla="*/ 1344390 h 2053850"/>
                    <a:gd name="connsiteX112" fmla="*/ 1549333 w 2051465"/>
                    <a:gd name="connsiteY112" fmla="*/ 1359851 h 2053850"/>
                    <a:gd name="connsiteX113" fmla="*/ 1576476 w 2051465"/>
                    <a:gd name="connsiteY113" fmla="*/ 1369836 h 2053850"/>
                    <a:gd name="connsiteX114" fmla="*/ 1583584 w 2051465"/>
                    <a:gd name="connsiteY114" fmla="*/ 1397859 h 2053850"/>
                    <a:gd name="connsiteX115" fmla="*/ 1601518 w 2051465"/>
                    <a:gd name="connsiteY115" fmla="*/ 1375151 h 2053850"/>
                    <a:gd name="connsiteX116" fmla="*/ 1630437 w 2051465"/>
                    <a:gd name="connsiteY116" fmla="*/ 1377084 h 2053850"/>
                    <a:gd name="connsiteX117" fmla="*/ 1614443 w 2051465"/>
                    <a:gd name="connsiteY117" fmla="*/ 1353087 h 2053850"/>
                    <a:gd name="connsiteX118" fmla="*/ 1625106 w 2051465"/>
                    <a:gd name="connsiteY118" fmla="*/ 1326192 h 2053850"/>
                    <a:gd name="connsiteX119" fmla="*/ 1597156 w 2051465"/>
                    <a:gd name="connsiteY119" fmla="*/ 1334083 h 2053850"/>
                    <a:gd name="connsiteX120" fmla="*/ 476443 w 2051465"/>
                    <a:gd name="connsiteY120" fmla="*/ 1315562 h 2053850"/>
                    <a:gd name="connsiteX121" fmla="*/ 454309 w 2051465"/>
                    <a:gd name="connsiteY121" fmla="*/ 1334083 h 2053850"/>
                    <a:gd name="connsiteX122" fmla="*/ 426359 w 2051465"/>
                    <a:gd name="connsiteY122" fmla="*/ 1326192 h 2053850"/>
                    <a:gd name="connsiteX123" fmla="*/ 437022 w 2051465"/>
                    <a:gd name="connsiteY123" fmla="*/ 1353087 h 2053850"/>
                    <a:gd name="connsiteX124" fmla="*/ 421027 w 2051465"/>
                    <a:gd name="connsiteY124" fmla="*/ 1377084 h 2053850"/>
                    <a:gd name="connsiteX125" fmla="*/ 449947 w 2051465"/>
                    <a:gd name="connsiteY125" fmla="*/ 1375151 h 2053850"/>
                    <a:gd name="connsiteX126" fmla="*/ 467880 w 2051465"/>
                    <a:gd name="connsiteY126" fmla="*/ 1397859 h 2053850"/>
                    <a:gd name="connsiteX127" fmla="*/ 474989 w 2051465"/>
                    <a:gd name="connsiteY127" fmla="*/ 1369836 h 2053850"/>
                    <a:gd name="connsiteX128" fmla="*/ 502131 w 2051465"/>
                    <a:gd name="connsiteY128" fmla="*/ 1359851 h 2053850"/>
                    <a:gd name="connsiteX129" fmla="*/ 477735 w 2051465"/>
                    <a:gd name="connsiteY129" fmla="*/ 1344390 h 2053850"/>
                    <a:gd name="connsiteX130" fmla="*/ 1615811 w 2051465"/>
                    <a:gd name="connsiteY130" fmla="*/ 1215374 h 2053850"/>
                    <a:gd name="connsiteX131" fmla="*/ 1619717 w 2051465"/>
                    <a:gd name="connsiteY131" fmla="*/ 1244168 h 2053850"/>
                    <a:gd name="connsiteX132" fmla="*/ 1598234 w 2051465"/>
                    <a:gd name="connsiteY132" fmla="*/ 1263580 h 2053850"/>
                    <a:gd name="connsiteX133" fmla="*/ 1626878 w 2051465"/>
                    <a:gd name="connsiteY133" fmla="*/ 1268757 h 2053850"/>
                    <a:gd name="connsiteX134" fmla="*/ 1638921 w 2051465"/>
                    <a:gd name="connsiteY134" fmla="*/ 1295286 h 2053850"/>
                    <a:gd name="connsiteX135" fmla="*/ 1652755 w 2051465"/>
                    <a:gd name="connsiteY135" fmla="*/ 1269727 h 2053850"/>
                    <a:gd name="connsiteX136" fmla="*/ 1681724 w 2051465"/>
                    <a:gd name="connsiteY136" fmla="*/ 1266492 h 2053850"/>
                    <a:gd name="connsiteX137" fmla="*/ 1661543 w 2051465"/>
                    <a:gd name="connsiteY137" fmla="*/ 1245624 h 2053850"/>
                    <a:gd name="connsiteX138" fmla="*/ 1667402 w 2051465"/>
                    <a:gd name="connsiteY138" fmla="*/ 1217154 h 2053850"/>
                    <a:gd name="connsiteX139" fmla="*/ 1641200 w 2051465"/>
                    <a:gd name="connsiteY139" fmla="*/ 1229771 h 2053850"/>
                    <a:gd name="connsiteX140" fmla="*/ 434713 w 2051465"/>
                    <a:gd name="connsiteY140" fmla="*/ 1215374 h 2053850"/>
                    <a:gd name="connsiteX141" fmla="*/ 409687 w 2051465"/>
                    <a:gd name="connsiteY141" fmla="*/ 1229771 h 2053850"/>
                    <a:gd name="connsiteX142" fmla="*/ 383858 w 2051465"/>
                    <a:gd name="connsiteY142" fmla="*/ 1217154 h 2053850"/>
                    <a:gd name="connsiteX143" fmla="*/ 389634 w 2051465"/>
                    <a:gd name="connsiteY143" fmla="*/ 1245624 h 2053850"/>
                    <a:gd name="connsiteX144" fmla="*/ 369741 w 2051465"/>
                    <a:gd name="connsiteY144" fmla="*/ 1266492 h 2053850"/>
                    <a:gd name="connsiteX145" fmla="*/ 398297 w 2051465"/>
                    <a:gd name="connsiteY145" fmla="*/ 1269727 h 2053850"/>
                    <a:gd name="connsiteX146" fmla="*/ 411932 w 2051465"/>
                    <a:gd name="connsiteY146" fmla="*/ 1295286 h 2053850"/>
                    <a:gd name="connsiteX147" fmla="*/ 423804 w 2051465"/>
                    <a:gd name="connsiteY147" fmla="*/ 1268757 h 2053850"/>
                    <a:gd name="connsiteX148" fmla="*/ 452038 w 2051465"/>
                    <a:gd name="connsiteY148" fmla="*/ 1263580 h 2053850"/>
                    <a:gd name="connsiteX149" fmla="*/ 430862 w 2051465"/>
                    <a:gd name="connsiteY149" fmla="*/ 1244168 h 2053850"/>
                    <a:gd name="connsiteX150" fmla="*/ 1690261 w 2051465"/>
                    <a:gd name="connsiteY150" fmla="*/ 1102066 h 2053850"/>
                    <a:gd name="connsiteX151" fmla="*/ 1666655 w 2051465"/>
                    <a:gd name="connsiteY151" fmla="*/ 1119015 h 2053850"/>
                    <a:gd name="connsiteX152" fmla="*/ 1639493 w 2051465"/>
                    <a:gd name="connsiteY152" fmla="*/ 1109237 h 2053850"/>
                    <a:gd name="connsiteX153" fmla="*/ 1648223 w 2051465"/>
                    <a:gd name="connsiteY153" fmla="*/ 1137104 h 2053850"/>
                    <a:gd name="connsiteX154" fmla="*/ 1630438 w 2051465"/>
                    <a:gd name="connsiteY154" fmla="*/ 1160082 h 2053850"/>
                    <a:gd name="connsiteX155" fmla="*/ 1659541 w 2051465"/>
                    <a:gd name="connsiteY155" fmla="*/ 1160245 h 2053850"/>
                    <a:gd name="connsiteX156" fmla="*/ 1675871 w 2051465"/>
                    <a:gd name="connsiteY156" fmla="*/ 1184363 h 2053850"/>
                    <a:gd name="connsiteX157" fmla="*/ 1684926 w 2051465"/>
                    <a:gd name="connsiteY157" fmla="*/ 1156659 h 2053850"/>
                    <a:gd name="connsiteX158" fmla="*/ 1712735 w 2051465"/>
                    <a:gd name="connsiteY158" fmla="*/ 1148511 h 2053850"/>
                    <a:gd name="connsiteX159" fmla="*/ 1689453 w 2051465"/>
                    <a:gd name="connsiteY159" fmla="*/ 1131237 h 2053850"/>
                    <a:gd name="connsiteX160" fmla="*/ 360012 w 2051465"/>
                    <a:gd name="connsiteY160" fmla="*/ 1102066 h 2053850"/>
                    <a:gd name="connsiteX161" fmla="*/ 360821 w 2051465"/>
                    <a:gd name="connsiteY161" fmla="*/ 1131237 h 2053850"/>
                    <a:gd name="connsiteX162" fmla="*/ 337538 w 2051465"/>
                    <a:gd name="connsiteY162" fmla="*/ 1148511 h 2053850"/>
                    <a:gd name="connsiteX163" fmla="*/ 365348 w 2051465"/>
                    <a:gd name="connsiteY163" fmla="*/ 1156659 h 2053850"/>
                    <a:gd name="connsiteX164" fmla="*/ 374402 w 2051465"/>
                    <a:gd name="connsiteY164" fmla="*/ 1184363 h 2053850"/>
                    <a:gd name="connsiteX165" fmla="*/ 390732 w 2051465"/>
                    <a:gd name="connsiteY165" fmla="*/ 1160245 h 2053850"/>
                    <a:gd name="connsiteX166" fmla="*/ 419835 w 2051465"/>
                    <a:gd name="connsiteY166" fmla="*/ 1160082 h 2053850"/>
                    <a:gd name="connsiteX167" fmla="*/ 402050 w 2051465"/>
                    <a:gd name="connsiteY167" fmla="*/ 1137104 h 2053850"/>
                    <a:gd name="connsiteX168" fmla="*/ 410781 w 2051465"/>
                    <a:gd name="connsiteY168" fmla="*/ 1109237 h 2053850"/>
                    <a:gd name="connsiteX169" fmla="*/ 383618 w 2051465"/>
                    <a:gd name="connsiteY169" fmla="*/ 1119015 h 2053850"/>
                    <a:gd name="connsiteX170" fmla="*/ 1693366 w 2051465"/>
                    <a:gd name="connsiteY170" fmla="*/ 985180 h 2053850"/>
                    <a:gd name="connsiteX171" fmla="*/ 1673244 w 2051465"/>
                    <a:gd name="connsiteY171" fmla="*/ 1006012 h 2053850"/>
                    <a:gd name="connsiteX172" fmla="*/ 1644750 w 2051465"/>
                    <a:gd name="connsiteY172" fmla="*/ 1001130 h 2053850"/>
                    <a:gd name="connsiteX173" fmla="*/ 1658273 w 2051465"/>
                    <a:gd name="connsiteY173" fmla="*/ 1027007 h 2053850"/>
                    <a:gd name="connsiteX174" fmla="*/ 1644750 w 2051465"/>
                    <a:gd name="connsiteY174" fmla="*/ 1052721 h 2053850"/>
                    <a:gd name="connsiteX175" fmla="*/ 1673244 w 2051465"/>
                    <a:gd name="connsiteY175" fmla="*/ 1047838 h 2053850"/>
                    <a:gd name="connsiteX176" fmla="*/ 1693366 w 2051465"/>
                    <a:gd name="connsiteY176" fmla="*/ 1068670 h 2053850"/>
                    <a:gd name="connsiteX177" fmla="*/ 1697552 w 2051465"/>
                    <a:gd name="connsiteY177" fmla="*/ 1039864 h 2053850"/>
                    <a:gd name="connsiteX178" fmla="*/ 1723469 w 2051465"/>
                    <a:gd name="connsiteY178" fmla="*/ 1027007 h 2053850"/>
                    <a:gd name="connsiteX179" fmla="*/ 1697552 w 2051465"/>
                    <a:gd name="connsiteY179" fmla="*/ 1013987 h 2053850"/>
                    <a:gd name="connsiteX180" fmla="*/ 357363 w 2051465"/>
                    <a:gd name="connsiteY180" fmla="*/ 985180 h 2053850"/>
                    <a:gd name="connsiteX181" fmla="*/ 353114 w 2051465"/>
                    <a:gd name="connsiteY181" fmla="*/ 1013987 h 2053850"/>
                    <a:gd name="connsiteX182" fmla="*/ 326803 w 2051465"/>
                    <a:gd name="connsiteY182" fmla="*/ 1027007 h 2053850"/>
                    <a:gd name="connsiteX183" fmla="*/ 353114 w 2051465"/>
                    <a:gd name="connsiteY183" fmla="*/ 1039864 h 2053850"/>
                    <a:gd name="connsiteX184" fmla="*/ 357363 w 2051465"/>
                    <a:gd name="connsiteY184" fmla="*/ 1068670 h 2053850"/>
                    <a:gd name="connsiteX185" fmla="*/ 377790 w 2051465"/>
                    <a:gd name="connsiteY185" fmla="*/ 1047838 h 2053850"/>
                    <a:gd name="connsiteX186" fmla="*/ 406715 w 2051465"/>
                    <a:gd name="connsiteY186" fmla="*/ 1052721 h 2053850"/>
                    <a:gd name="connsiteX187" fmla="*/ 392988 w 2051465"/>
                    <a:gd name="connsiteY187" fmla="*/ 1027007 h 2053850"/>
                    <a:gd name="connsiteX188" fmla="*/ 406715 w 2051465"/>
                    <a:gd name="connsiteY188" fmla="*/ 1001130 h 2053850"/>
                    <a:gd name="connsiteX189" fmla="*/ 377790 w 2051465"/>
                    <a:gd name="connsiteY189" fmla="*/ 1006012 h 2053850"/>
                    <a:gd name="connsiteX190" fmla="*/ 1675871 w 2051465"/>
                    <a:gd name="connsiteY190" fmla="*/ 869487 h 2053850"/>
                    <a:gd name="connsiteX191" fmla="*/ 1659541 w 2051465"/>
                    <a:gd name="connsiteY191" fmla="*/ 893558 h 2053850"/>
                    <a:gd name="connsiteX192" fmla="*/ 1630438 w 2051465"/>
                    <a:gd name="connsiteY192" fmla="*/ 893721 h 2053850"/>
                    <a:gd name="connsiteX193" fmla="*/ 1648223 w 2051465"/>
                    <a:gd name="connsiteY193" fmla="*/ 916816 h 2053850"/>
                    <a:gd name="connsiteX194" fmla="*/ 1639493 w 2051465"/>
                    <a:gd name="connsiteY194" fmla="*/ 944628 h 2053850"/>
                    <a:gd name="connsiteX195" fmla="*/ 1666655 w 2051465"/>
                    <a:gd name="connsiteY195" fmla="*/ 934707 h 2053850"/>
                    <a:gd name="connsiteX196" fmla="*/ 1690261 w 2051465"/>
                    <a:gd name="connsiteY196" fmla="*/ 951784 h 2053850"/>
                    <a:gd name="connsiteX197" fmla="*/ 1689453 w 2051465"/>
                    <a:gd name="connsiteY197" fmla="*/ 922509 h 2053850"/>
                    <a:gd name="connsiteX198" fmla="*/ 1712735 w 2051465"/>
                    <a:gd name="connsiteY198" fmla="*/ 905269 h 2053850"/>
                    <a:gd name="connsiteX199" fmla="*/ 1684926 w 2051465"/>
                    <a:gd name="connsiteY199" fmla="*/ 897136 h 2053850"/>
                    <a:gd name="connsiteX200" fmla="*/ 374402 w 2051465"/>
                    <a:gd name="connsiteY200" fmla="*/ 869487 h 2053850"/>
                    <a:gd name="connsiteX201" fmla="*/ 365348 w 2051465"/>
                    <a:gd name="connsiteY201" fmla="*/ 897136 h 2053850"/>
                    <a:gd name="connsiteX202" fmla="*/ 337538 w 2051465"/>
                    <a:gd name="connsiteY202" fmla="*/ 905269 h 2053850"/>
                    <a:gd name="connsiteX203" fmla="*/ 360821 w 2051465"/>
                    <a:gd name="connsiteY203" fmla="*/ 922509 h 2053850"/>
                    <a:gd name="connsiteX204" fmla="*/ 360012 w 2051465"/>
                    <a:gd name="connsiteY204" fmla="*/ 951784 h 2053850"/>
                    <a:gd name="connsiteX205" fmla="*/ 383618 w 2051465"/>
                    <a:gd name="connsiteY205" fmla="*/ 934707 h 2053850"/>
                    <a:gd name="connsiteX206" fmla="*/ 410781 w 2051465"/>
                    <a:gd name="connsiteY206" fmla="*/ 944628 h 2053850"/>
                    <a:gd name="connsiteX207" fmla="*/ 402050 w 2051465"/>
                    <a:gd name="connsiteY207" fmla="*/ 916816 h 2053850"/>
                    <a:gd name="connsiteX208" fmla="*/ 419835 w 2051465"/>
                    <a:gd name="connsiteY208" fmla="*/ 893721 h 2053850"/>
                    <a:gd name="connsiteX209" fmla="*/ 390732 w 2051465"/>
                    <a:gd name="connsiteY209" fmla="*/ 893558 h 2053850"/>
                    <a:gd name="connsiteX210" fmla="*/ 1638921 w 2051465"/>
                    <a:gd name="connsiteY210" fmla="*/ 759758 h 2053850"/>
                    <a:gd name="connsiteX211" fmla="*/ 1626878 w 2051465"/>
                    <a:gd name="connsiteY211" fmla="*/ 785892 h 2053850"/>
                    <a:gd name="connsiteX212" fmla="*/ 1598234 w 2051465"/>
                    <a:gd name="connsiteY212" fmla="*/ 790991 h 2053850"/>
                    <a:gd name="connsiteX213" fmla="*/ 1619717 w 2051465"/>
                    <a:gd name="connsiteY213" fmla="*/ 810272 h 2053850"/>
                    <a:gd name="connsiteX214" fmla="*/ 1615811 w 2051465"/>
                    <a:gd name="connsiteY214" fmla="*/ 838477 h 2053850"/>
                    <a:gd name="connsiteX215" fmla="*/ 1641200 w 2051465"/>
                    <a:gd name="connsiteY215" fmla="*/ 824295 h 2053850"/>
                    <a:gd name="connsiteX216" fmla="*/ 1667402 w 2051465"/>
                    <a:gd name="connsiteY216" fmla="*/ 836724 h 2053850"/>
                    <a:gd name="connsiteX217" fmla="*/ 1661543 w 2051465"/>
                    <a:gd name="connsiteY217" fmla="*/ 808838 h 2053850"/>
                    <a:gd name="connsiteX218" fmla="*/ 1681724 w 2051465"/>
                    <a:gd name="connsiteY218" fmla="*/ 788123 h 2053850"/>
                    <a:gd name="connsiteX219" fmla="*/ 1652755 w 2051465"/>
                    <a:gd name="connsiteY219" fmla="*/ 784936 h 2053850"/>
                    <a:gd name="connsiteX220" fmla="*/ 411932 w 2051465"/>
                    <a:gd name="connsiteY220" fmla="*/ 759758 h 2053850"/>
                    <a:gd name="connsiteX221" fmla="*/ 398297 w 2051465"/>
                    <a:gd name="connsiteY221" fmla="*/ 784936 h 2053850"/>
                    <a:gd name="connsiteX222" fmla="*/ 369741 w 2051465"/>
                    <a:gd name="connsiteY222" fmla="*/ 788123 h 2053850"/>
                    <a:gd name="connsiteX223" fmla="*/ 389634 w 2051465"/>
                    <a:gd name="connsiteY223" fmla="*/ 808838 h 2053850"/>
                    <a:gd name="connsiteX224" fmla="*/ 383858 w 2051465"/>
                    <a:gd name="connsiteY224" fmla="*/ 836724 h 2053850"/>
                    <a:gd name="connsiteX225" fmla="*/ 409687 w 2051465"/>
                    <a:gd name="connsiteY225" fmla="*/ 824295 h 2053850"/>
                    <a:gd name="connsiteX226" fmla="*/ 434713 w 2051465"/>
                    <a:gd name="connsiteY226" fmla="*/ 838477 h 2053850"/>
                    <a:gd name="connsiteX227" fmla="*/ 430862 w 2051465"/>
                    <a:gd name="connsiteY227" fmla="*/ 810272 h 2053850"/>
                    <a:gd name="connsiteX228" fmla="*/ 452038 w 2051465"/>
                    <a:gd name="connsiteY228" fmla="*/ 790991 h 2053850"/>
                    <a:gd name="connsiteX229" fmla="*/ 423804 w 2051465"/>
                    <a:gd name="connsiteY229" fmla="*/ 785892 h 2053850"/>
                    <a:gd name="connsiteX230" fmla="*/ 1583584 w 2051465"/>
                    <a:gd name="connsiteY230" fmla="*/ 655992 h 2053850"/>
                    <a:gd name="connsiteX231" fmla="*/ 1576476 w 2051465"/>
                    <a:gd name="connsiteY231" fmla="*/ 684421 h 2053850"/>
                    <a:gd name="connsiteX232" fmla="*/ 1549333 w 2051465"/>
                    <a:gd name="connsiteY232" fmla="*/ 694551 h 2053850"/>
                    <a:gd name="connsiteX233" fmla="*/ 1573729 w 2051465"/>
                    <a:gd name="connsiteY233" fmla="*/ 710236 h 2053850"/>
                    <a:gd name="connsiteX234" fmla="*/ 1575022 w 2051465"/>
                    <a:gd name="connsiteY234" fmla="*/ 739482 h 2053850"/>
                    <a:gd name="connsiteX235" fmla="*/ 1597156 w 2051465"/>
                    <a:gd name="connsiteY235" fmla="*/ 720856 h 2053850"/>
                    <a:gd name="connsiteX236" fmla="*/ 1625106 w 2051465"/>
                    <a:gd name="connsiteY236" fmla="*/ 728699 h 2053850"/>
                    <a:gd name="connsiteX237" fmla="*/ 1614443 w 2051465"/>
                    <a:gd name="connsiteY237" fmla="*/ 701577 h 2053850"/>
                    <a:gd name="connsiteX238" fmla="*/ 1630437 w 2051465"/>
                    <a:gd name="connsiteY238" fmla="*/ 677232 h 2053850"/>
                    <a:gd name="connsiteX239" fmla="*/ 1601518 w 2051465"/>
                    <a:gd name="connsiteY239" fmla="*/ 679029 h 2053850"/>
                    <a:gd name="connsiteX240" fmla="*/ 467880 w 2051465"/>
                    <a:gd name="connsiteY240" fmla="*/ 655992 h 2053850"/>
                    <a:gd name="connsiteX241" fmla="*/ 449947 w 2051465"/>
                    <a:gd name="connsiteY241" fmla="*/ 679029 h 2053850"/>
                    <a:gd name="connsiteX242" fmla="*/ 421027 w 2051465"/>
                    <a:gd name="connsiteY242" fmla="*/ 677232 h 2053850"/>
                    <a:gd name="connsiteX243" fmla="*/ 437022 w 2051465"/>
                    <a:gd name="connsiteY243" fmla="*/ 701577 h 2053850"/>
                    <a:gd name="connsiteX244" fmla="*/ 426359 w 2051465"/>
                    <a:gd name="connsiteY244" fmla="*/ 728699 h 2053850"/>
                    <a:gd name="connsiteX245" fmla="*/ 454309 w 2051465"/>
                    <a:gd name="connsiteY245" fmla="*/ 720856 h 2053850"/>
                    <a:gd name="connsiteX246" fmla="*/ 476443 w 2051465"/>
                    <a:gd name="connsiteY246" fmla="*/ 739482 h 2053850"/>
                    <a:gd name="connsiteX247" fmla="*/ 477735 w 2051465"/>
                    <a:gd name="connsiteY247" fmla="*/ 710236 h 2053850"/>
                    <a:gd name="connsiteX248" fmla="*/ 502131 w 2051465"/>
                    <a:gd name="connsiteY248" fmla="*/ 694551 h 2053850"/>
                    <a:gd name="connsiteX249" fmla="*/ 474989 w 2051465"/>
                    <a:gd name="connsiteY249" fmla="*/ 684421 h 2053850"/>
                    <a:gd name="connsiteX250" fmla="*/ 1510799 w 2051465"/>
                    <a:gd name="connsiteY250" fmla="*/ 565346 h 2053850"/>
                    <a:gd name="connsiteX251" fmla="*/ 1508557 w 2051465"/>
                    <a:gd name="connsiteY251" fmla="*/ 594118 h 2053850"/>
                    <a:gd name="connsiteX252" fmla="*/ 1483734 w 2051465"/>
                    <a:gd name="connsiteY252" fmla="*/ 608584 h 2053850"/>
                    <a:gd name="connsiteX253" fmla="*/ 1510318 w 2051465"/>
                    <a:gd name="connsiteY253" fmla="*/ 619514 h 2053850"/>
                    <a:gd name="connsiteX254" fmla="*/ 1516404 w 2051465"/>
                    <a:gd name="connsiteY254" fmla="*/ 647643 h 2053850"/>
                    <a:gd name="connsiteX255" fmla="*/ 1534980 w 2051465"/>
                    <a:gd name="connsiteY255" fmla="*/ 625783 h 2053850"/>
                    <a:gd name="connsiteX256" fmla="*/ 1563646 w 2051465"/>
                    <a:gd name="connsiteY256" fmla="*/ 628516 h 2053850"/>
                    <a:gd name="connsiteX257" fmla="*/ 1548593 w 2051465"/>
                    <a:gd name="connsiteY257" fmla="*/ 604084 h 2053850"/>
                    <a:gd name="connsiteX258" fmla="*/ 1560123 w 2051465"/>
                    <a:gd name="connsiteY258" fmla="*/ 577723 h 2053850"/>
                    <a:gd name="connsiteX259" fmla="*/ 1532098 w 2051465"/>
                    <a:gd name="connsiteY259" fmla="*/ 584474 h 2053850"/>
                    <a:gd name="connsiteX260" fmla="*/ 540263 w 2051465"/>
                    <a:gd name="connsiteY260" fmla="*/ 565346 h 2053850"/>
                    <a:gd name="connsiteX261" fmla="*/ 518646 w 2051465"/>
                    <a:gd name="connsiteY261" fmla="*/ 584474 h 2053850"/>
                    <a:gd name="connsiteX262" fmla="*/ 490203 w 2051465"/>
                    <a:gd name="connsiteY262" fmla="*/ 577723 h 2053850"/>
                    <a:gd name="connsiteX263" fmla="*/ 502068 w 2051465"/>
                    <a:gd name="connsiteY263" fmla="*/ 604084 h 2053850"/>
                    <a:gd name="connsiteX264" fmla="*/ 486627 w 2051465"/>
                    <a:gd name="connsiteY264" fmla="*/ 628516 h 2053850"/>
                    <a:gd name="connsiteX265" fmla="*/ 515721 w 2051465"/>
                    <a:gd name="connsiteY265" fmla="*/ 625783 h 2053850"/>
                    <a:gd name="connsiteX266" fmla="*/ 534575 w 2051465"/>
                    <a:gd name="connsiteY266" fmla="*/ 647643 h 2053850"/>
                    <a:gd name="connsiteX267" fmla="*/ 540751 w 2051465"/>
                    <a:gd name="connsiteY267" fmla="*/ 619514 h 2053850"/>
                    <a:gd name="connsiteX268" fmla="*/ 567731 w 2051465"/>
                    <a:gd name="connsiteY268" fmla="*/ 608584 h 2053850"/>
                    <a:gd name="connsiteX269" fmla="*/ 542539 w 2051465"/>
                    <a:gd name="connsiteY269" fmla="*/ 594118 h 2053850"/>
                    <a:gd name="connsiteX270" fmla="*/ 1422950 w 2051465"/>
                    <a:gd name="connsiteY270" fmla="*/ 487819 h 2053850"/>
                    <a:gd name="connsiteX271" fmla="*/ 1425843 w 2051465"/>
                    <a:gd name="connsiteY271" fmla="*/ 516913 h 2053850"/>
                    <a:gd name="connsiteX272" fmla="*/ 1403822 w 2051465"/>
                    <a:gd name="connsiteY272" fmla="*/ 535766 h 2053850"/>
                    <a:gd name="connsiteX273" fmla="*/ 1431951 w 2051465"/>
                    <a:gd name="connsiteY273" fmla="*/ 541943 h 2053850"/>
                    <a:gd name="connsiteX274" fmla="*/ 1442881 w 2051465"/>
                    <a:gd name="connsiteY274" fmla="*/ 568923 h 2053850"/>
                    <a:gd name="connsiteX275" fmla="*/ 1457347 w 2051465"/>
                    <a:gd name="connsiteY275" fmla="*/ 543731 h 2053850"/>
                    <a:gd name="connsiteX276" fmla="*/ 1486119 w 2051465"/>
                    <a:gd name="connsiteY276" fmla="*/ 541618 h 2053850"/>
                    <a:gd name="connsiteX277" fmla="*/ 1466992 w 2051465"/>
                    <a:gd name="connsiteY277" fmla="*/ 519838 h 2053850"/>
                    <a:gd name="connsiteX278" fmla="*/ 1473743 w 2051465"/>
                    <a:gd name="connsiteY278" fmla="*/ 491557 h 2053850"/>
                    <a:gd name="connsiteX279" fmla="*/ 1447382 w 2051465"/>
                    <a:gd name="connsiteY279" fmla="*/ 503260 h 2053850"/>
                    <a:gd name="connsiteX280" fmla="*/ 627323 w 2051465"/>
                    <a:gd name="connsiteY280" fmla="*/ 487819 h 2053850"/>
                    <a:gd name="connsiteX281" fmla="*/ 602891 w 2051465"/>
                    <a:gd name="connsiteY281" fmla="*/ 503260 h 2053850"/>
                    <a:gd name="connsiteX282" fmla="*/ 576530 w 2051465"/>
                    <a:gd name="connsiteY282" fmla="*/ 491557 h 2053850"/>
                    <a:gd name="connsiteX283" fmla="*/ 583281 w 2051465"/>
                    <a:gd name="connsiteY283" fmla="*/ 519838 h 2053850"/>
                    <a:gd name="connsiteX284" fmla="*/ 564153 w 2051465"/>
                    <a:gd name="connsiteY284" fmla="*/ 541618 h 2053850"/>
                    <a:gd name="connsiteX285" fmla="*/ 592925 w 2051465"/>
                    <a:gd name="connsiteY285" fmla="*/ 543731 h 2053850"/>
                    <a:gd name="connsiteX286" fmla="*/ 607391 w 2051465"/>
                    <a:gd name="connsiteY286" fmla="*/ 568923 h 2053850"/>
                    <a:gd name="connsiteX287" fmla="*/ 618321 w 2051465"/>
                    <a:gd name="connsiteY287" fmla="*/ 541943 h 2053850"/>
                    <a:gd name="connsiteX288" fmla="*/ 646450 w 2051465"/>
                    <a:gd name="connsiteY288" fmla="*/ 535766 h 2053850"/>
                    <a:gd name="connsiteX289" fmla="*/ 624429 w 2051465"/>
                    <a:gd name="connsiteY289" fmla="*/ 516913 h 2053850"/>
                    <a:gd name="connsiteX290" fmla="*/ 1374698 w 2051465"/>
                    <a:gd name="connsiteY290" fmla="*/ 421027 h 2053850"/>
                    <a:gd name="connsiteX291" fmla="*/ 1350701 w 2051465"/>
                    <a:gd name="connsiteY291" fmla="*/ 437421 h 2053850"/>
                    <a:gd name="connsiteX292" fmla="*/ 1323806 w 2051465"/>
                    <a:gd name="connsiteY292" fmla="*/ 426437 h 2053850"/>
                    <a:gd name="connsiteX293" fmla="*/ 1331697 w 2051465"/>
                    <a:gd name="connsiteY293" fmla="*/ 454798 h 2053850"/>
                    <a:gd name="connsiteX294" fmla="*/ 1313176 w 2051465"/>
                    <a:gd name="connsiteY294" fmla="*/ 477422 h 2053850"/>
                    <a:gd name="connsiteX295" fmla="*/ 1342004 w 2051465"/>
                    <a:gd name="connsiteY295" fmla="*/ 478569 h 2053850"/>
                    <a:gd name="connsiteX296" fmla="*/ 1357465 w 2051465"/>
                    <a:gd name="connsiteY296" fmla="*/ 503324 h 2053850"/>
                    <a:gd name="connsiteX297" fmla="*/ 1367450 w 2051465"/>
                    <a:gd name="connsiteY297" fmla="*/ 475783 h 2053850"/>
                    <a:gd name="connsiteX298" fmla="*/ 1395473 w 2051465"/>
                    <a:gd name="connsiteY298" fmla="*/ 468569 h 2053850"/>
                    <a:gd name="connsiteX299" fmla="*/ 1372765 w 2051465"/>
                    <a:gd name="connsiteY299" fmla="*/ 450372 h 2053850"/>
                    <a:gd name="connsiteX300" fmla="*/ 676768 w 2051465"/>
                    <a:gd name="connsiteY300" fmla="*/ 421027 h 2053850"/>
                    <a:gd name="connsiteX301" fmla="*/ 678700 w 2051465"/>
                    <a:gd name="connsiteY301" fmla="*/ 450372 h 2053850"/>
                    <a:gd name="connsiteX302" fmla="*/ 655992 w 2051465"/>
                    <a:gd name="connsiteY302" fmla="*/ 468569 h 2053850"/>
                    <a:gd name="connsiteX303" fmla="*/ 684015 w 2051465"/>
                    <a:gd name="connsiteY303" fmla="*/ 475783 h 2053850"/>
                    <a:gd name="connsiteX304" fmla="*/ 694000 w 2051465"/>
                    <a:gd name="connsiteY304" fmla="*/ 503324 h 2053850"/>
                    <a:gd name="connsiteX305" fmla="*/ 709461 w 2051465"/>
                    <a:gd name="connsiteY305" fmla="*/ 478569 h 2053850"/>
                    <a:gd name="connsiteX306" fmla="*/ 738289 w 2051465"/>
                    <a:gd name="connsiteY306" fmla="*/ 477422 h 2053850"/>
                    <a:gd name="connsiteX307" fmla="*/ 719768 w 2051465"/>
                    <a:gd name="connsiteY307" fmla="*/ 454798 h 2053850"/>
                    <a:gd name="connsiteX308" fmla="*/ 727660 w 2051465"/>
                    <a:gd name="connsiteY308" fmla="*/ 426437 h 2053850"/>
                    <a:gd name="connsiteX309" fmla="*/ 700764 w 2051465"/>
                    <a:gd name="connsiteY309" fmla="*/ 437421 h 2053850"/>
                    <a:gd name="connsiteX310" fmla="*/ 1264106 w 2051465"/>
                    <a:gd name="connsiteY310" fmla="*/ 369741 h 2053850"/>
                    <a:gd name="connsiteX311" fmla="*/ 1243238 w 2051465"/>
                    <a:gd name="connsiteY311" fmla="*/ 389883 h 2053850"/>
                    <a:gd name="connsiteX312" fmla="*/ 1214768 w 2051465"/>
                    <a:gd name="connsiteY312" fmla="*/ 384035 h 2053850"/>
                    <a:gd name="connsiteX313" fmla="*/ 1227385 w 2051465"/>
                    <a:gd name="connsiteY313" fmla="*/ 410187 h 2053850"/>
                    <a:gd name="connsiteX314" fmla="*/ 1212988 w 2051465"/>
                    <a:gd name="connsiteY314" fmla="*/ 435526 h 2053850"/>
                    <a:gd name="connsiteX315" fmla="*/ 1241782 w 2051465"/>
                    <a:gd name="connsiteY315" fmla="*/ 431628 h 2053850"/>
                    <a:gd name="connsiteX316" fmla="*/ 1261194 w 2051465"/>
                    <a:gd name="connsiteY316" fmla="*/ 453231 h 2053850"/>
                    <a:gd name="connsiteX317" fmla="*/ 1266371 w 2051465"/>
                    <a:gd name="connsiteY317" fmla="*/ 424481 h 2053850"/>
                    <a:gd name="connsiteX318" fmla="*/ 1292900 w 2051465"/>
                    <a:gd name="connsiteY318" fmla="*/ 412461 h 2053850"/>
                    <a:gd name="connsiteX319" fmla="*/ 1267341 w 2051465"/>
                    <a:gd name="connsiteY319" fmla="*/ 398654 h 2053850"/>
                    <a:gd name="connsiteX320" fmla="*/ 786930 w 2051465"/>
                    <a:gd name="connsiteY320" fmla="*/ 369741 h 2053850"/>
                    <a:gd name="connsiteX321" fmla="*/ 783743 w 2051465"/>
                    <a:gd name="connsiteY321" fmla="*/ 398654 h 2053850"/>
                    <a:gd name="connsiteX322" fmla="*/ 758565 w 2051465"/>
                    <a:gd name="connsiteY322" fmla="*/ 412461 h 2053850"/>
                    <a:gd name="connsiteX323" fmla="*/ 784699 w 2051465"/>
                    <a:gd name="connsiteY323" fmla="*/ 424481 h 2053850"/>
                    <a:gd name="connsiteX324" fmla="*/ 789798 w 2051465"/>
                    <a:gd name="connsiteY324" fmla="*/ 453231 h 2053850"/>
                    <a:gd name="connsiteX325" fmla="*/ 808920 w 2051465"/>
                    <a:gd name="connsiteY325" fmla="*/ 431628 h 2053850"/>
                    <a:gd name="connsiteX326" fmla="*/ 837284 w 2051465"/>
                    <a:gd name="connsiteY326" fmla="*/ 435526 h 2053850"/>
                    <a:gd name="connsiteX327" fmla="*/ 823102 w 2051465"/>
                    <a:gd name="connsiteY327" fmla="*/ 410187 h 2053850"/>
                    <a:gd name="connsiteX328" fmla="*/ 835531 w 2051465"/>
                    <a:gd name="connsiteY328" fmla="*/ 384035 h 2053850"/>
                    <a:gd name="connsiteX329" fmla="*/ 807486 w 2051465"/>
                    <a:gd name="connsiteY329" fmla="*/ 389883 h 2053850"/>
                    <a:gd name="connsiteX330" fmla="*/ 1146715 w 2051465"/>
                    <a:gd name="connsiteY330" fmla="*/ 338730 h 2053850"/>
                    <a:gd name="connsiteX331" fmla="*/ 1129724 w 2051465"/>
                    <a:gd name="connsiteY331" fmla="*/ 362174 h 2053850"/>
                    <a:gd name="connsiteX332" fmla="*/ 1100873 w 2051465"/>
                    <a:gd name="connsiteY332" fmla="*/ 361204 h 2053850"/>
                    <a:gd name="connsiteX333" fmla="*/ 1117703 w 2051465"/>
                    <a:gd name="connsiteY333" fmla="*/ 384810 h 2053850"/>
                    <a:gd name="connsiteX334" fmla="*/ 1108086 w 2051465"/>
                    <a:gd name="connsiteY334" fmla="*/ 412135 h 2053850"/>
                    <a:gd name="connsiteX335" fmla="*/ 1135334 w 2051465"/>
                    <a:gd name="connsiteY335" fmla="*/ 403242 h 2053850"/>
                    <a:gd name="connsiteX336" fmla="*/ 1158095 w 2051465"/>
                    <a:gd name="connsiteY336" fmla="*/ 421027 h 2053850"/>
                    <a:gd name="connsiteX337" fmla="*/ 1158255 w 2051465"/>
                    <a:gd name="connsiteY337" fmla="*/ 391924 h 2053850"/>
                    <a:gd name="connsiteX338" fmla="*/ 1181977 w 2051465"/>
                    <a:gd name="connsiteY338" fmla="*/ 375594 h 2053850"/>
                    <a:gd name="connsiteX339" fmla="*/ 1154729 w 2051465"/>
                    <a:gd name="connsiteY339" fmla="*/ 366540 h 2053850"/>
                    <a:gd name="connsiteX340" fmla="*/ 904076 w 2051465"/>
                    <a:gd name="connsiteY340" fmla="*/ 338730 h 2053850"/>
                    <a:gd name="connsiteX341" fmla="*/ 895943 w 2051465"/>
                    <a:gd name="connsiteY341" fmla="*/ 366540 h 2053850"/>
                    <a:gd name="connsiteX342" fmla="*/ 868294 w 2051465"/>
                    <a:gd name="connsiteY342" fmla="*/ 375594 h 2053850"/>
                    <a:gd name="connsiteX343" fmla="*/ 892365 w 2051465"/>
                    <a:gd name="connsiteY343" fmla="*/ 391924 h 2053850"/>
                    <a:gd name="connsiteX344" fmla="*/ 892528 w 2051465"/>
                    <a:gd name="connsiteY344" fmla="*/ 421027 h 2053850"/>
                    <a:gd name="connsiteX345" fmla="*/ 915623 w 2051465"/>
                    <a:gd name="connsiteY345" fmla="*/ 403242 h 2053850"/>
                    <a:gd name="connsiteX346" fmla="*/ 943272 w 2051465"/>
                    <a:gd name="connsiteY346" fmla="*/ 412135 h 2053850"/>
                    <a:gd name="connsiteX347" fmla="*/ 933514 w 2051465"/>
                    <a:gd name="connsiteY347" fmla="*/ 384810 h 2053850"/>
                    <a:gd name="connsiteX348" fmla="*/ 950591 w 2051465"/>
                    <a:gd name="connsiteY348" fmla="*/ 361204 h 2053850"/>
                    <a:gd name="connsiteX349" fmla="*/ 921316 w 2051465"/>
                    <a:gd name="connsiteY349" fmla="*/ 362174 h 2053850"/>
                    <a:gd name="connsiteX350" fmla="*/ 1025815 w 2051465"/>
                    <a:gd name="connsiteY350" fmla="*/ 327996 h 2053850"/>
                    <a:gd name="connsiteX351" fmla="*/ 1012795 w 2051465"/>
                    <a:gd name="connsiteY351" fmla="*/ 353914 h 2053850"/>
                    <a:gd name="connsiteX352" fmla="*/ 983988 w 2051465"/>
                    <a:gd name="connsiteY352" fmla="*/ 358099 h 2053850"/>
                    <a:gd name="connsiteX353" fmla="*/ 1004820 w 2051465"/>
                    <a:gd name="connsiteY353" fmla="*/ 378222 h 2053850"/>
                    <a:gd name="connsiteX354" fmla="*/ 999938 w 2051465"/>
                    <a:gd name="connsiteY354" fmla="*/ 406715 h 2053850"/>
                    <a:gd name="connsiteX355" fmla="*/ 1025815 w 2051465"/>
                    <a:gd name="connsiteY355" fmla="*/ 393193 h 2053850"/>
                    <a:gd name="connsiteX356" fmla="*/ 1051529 w 2051465"/>
                    <a:gd name="connsiteY356" fmla="*/ 406715 h 2053850"/>
                    <a:gd name="connsiteX357" fmla="*/ 1046646 w 2051465"/>
                    <a:gd name="connsiteY357" fmla="*/ 378222 h 2053850"/>
                    <a:gd name="connsiteX358" fmla="*/ 1067478 w 2051465"/>
                    <a:gd name="connsiteY358" fmla="*/ 358099 h 2053850"/>
                    <a:gd name="connsiteX359" fmla="*/ 1038672 w 2051465"/>
                    <a:gd name="connsiteY359" fmla="*/ 353914 h 2053850"/>
                    <a:gd name="connsiteX360" fmla="*/ 1021692 w 2051465"/>
                    <a:gd name="connsiteY360" fmla="*/ 287509 h 2053850"/>
                    <a:gd name="connsiteX361" fmla="*/ 1748629 w 2051465"/>
                    <a:gd name="connsiteY361" fmla="*/ 1014446 h 2053850"/>
                    <a:gd name="connsiteX362" fmla="*/ 1021692 w 2051465"/>
                    <a:gd name="connsiteY362" fmla="*/ 1741383 h 2053850"/>
                    <a:gd name="connsiteX363" fmla="*/ 294755 w 2051465"/>
                    <a:gd name="connsiteY363" fmla="*/ 1014446 h 2053850"/>
                    <a:gd name="connsiteX364" fmla="*/ 1021692 w 2051465"/>
                    <a:gd name="connsiteY364" fmla="*/ 287509 h 2053850"/>
                    <a:gd name="connsiteX365" fmla="*/ 1021692 w 2051465"/>
                    <a:gd name="connsiteY365" fmla="*/ 204488 h 2053850"/>
                    <a:gd name="connsiteX366" fmla="*/ 211734 w 2051465"/>
                    <a:gd name="connsiteY366" fmla="*/ 1014446 h 2053850"/>
                    <a:gd name="connsiteX367" fmla="*/ 1021692 w 2051465"/>
                    <a:gd name="connsiteY367" fmla="*/ 1824404 h 2053850"/>
                    <a:gd name="connsiteX368" fmla="*/ 1831650 w 2051465"/>
                    <a:gd name="connsiteY368" fmla="*/ 1014446 h 2053850"/>
                    <a:gd name="connsiteX369" fmla="*/ 1021692 w 2051465"/>
                    <a:gd name="connsiteY369" fmla="*/ 204488 h 2053850"/>
                    <a:gd name="connsiteX370" fmla="*/ 1025813 w 2051465"/>
                    <a:gd name="connsiteY370" fmla="*/ 0 h 2053850"/>
                    <a:gd name="connsiteX371" fmla="*/ 1266289 w 2051465"/>
                    <a:gd name="connsiteY371" fmla="*/ 127810 h 2053850"/>
                    <a:gd name="connsiteX372" fmla="*/ 1538559 w 2051465"/>
                    <a:gd name="connsiteY372" fmla="*/ 137667 h 2053850"/>
                    <a:gd name="connsiteX373" fmla="*/ 1683167 w 2051465"/>
                    <a:gd name="connsiteY373" fmla="*/ 368727 h 2053850"/>
                    <a:gd name="connsiteX374" fmla="*/ 1913958 w 2051465"/>
                    <a:gd name="connsiteY374" fmla="*/ 513503 h 2053850"/>
                    <a:gd name="connsiteX375" fmla="*/ 1923803 w 2051465"/>
                    <a:gd name="connsiteY375" fmla="*/ 786089 h 2053850"/>
                    <a:gd name="connsiteX376" fmla="*/ 2051465 w 2051465"/>
                    <a:gd name="connsiteY376" fmla="*/ 1027006 h 2053850"/>
                    <a:gd name="connsiteX377" fmla="*/ 1923803 w 2051465"/>
                    <a:gd name="connsiteY377" fmla="*/ 1267923 h 2053850"/>
                    <a:gd name="connsiteX378" fmla="*/ 1913958 w 2051465"/>
                    <a:gd name="connsiteY378" fmla="*/ 1540347 h 2053850"/>
                    <a:gd name="connsiteX379" fmla="*/ 1683167 w 2051465"/>
                    <a:gd name="connsiteY379" fmla="*/ 1685123 h 2053850"/>
                    <a:gd name="connsiteX380" fmla="*/ 1538559 w 2051465"/>
                    <a:gd name="connsiteY380" fmla="*/ 1916345 h 2053850"/>
                    <a:gd name="connsiteX381" fmla="*/ 1266289 w 2051465"/>
                    <a:gd name="connsiteY381" fmla="*/ 1926040 h 2053850"/>
                    <a:gd name="connsiteX382" fmla="*/ 1025813 w 2051465"/>
                    <a:gd name="connsiteY382" fmla="*/ 2053850 h 2053850"/>
                    <a:gd name="connsiteX383" fmla="*/ 785177 w 2051465"/>
                    <a:gd name="connsiteY383" fmla="*/ 1926040 h 2053850"/>
                    <a:gd name="connsiteX384" fmla="*/ 512907 w 2051465"/>
                    <a:gd name="connsiteY384" fmla="*/ 1916345 h 2053850"/>
                    <a:gd name="connsiteX385" fmla="*/ 368299 w 2051465"/>
                    <a:gd name="connsiteY385" fmla="*/ 1685123 h 2053850"/>
                    <a:gd name="connsiteX386" fmla="*/ 137507 w 2051465"/>
                    <a:gd name="connsiteY386" fmla="*/ 1540347 h 2053850"/>
                    <a:gd name="connsiteX387" fmla="*/ 127662 w 2051465"/>
                    <a:gd name="connsiteY387" fmla="*/ 1267923 h 2053850"/>
                    <a:gd name="connsiteX388" fmla="*/ 0 w 2051465"/>
                    <a:gd name="connsiteY388" fmla="*/ 1027006 h 2053850"/>
                    <a:gd name="connsiteX389" fmla="*/ 127662 w 2051465"/>
                    <a:gd name="connsiteY389" fmla="*/ 786089 h 2053850"/>
                    <a:gd name="connsiteX390" fmla="*/ 137507 w 2051465"/>
                    <a:gd name="connsiteY390" fmla="*/ 513503 h 2053850"/>
                    <a:gd name="connsiteX391" fmla="*/ 368299 w 2051465"/>
                    <a:gd name="connsiteY391" fmla="*/ 368727 h 2053850"/>
                    <a:gd name="connsiteX392" fmla="*/ 512907 w 2051465"/>
                    <a:gd name="connsiteY392" fmla="*/ 137667 h 2053850"/>
                    <a:gd name="connsiteX393" fmla="*/ 785177 w 2051465"/>
                    <a:gd name="connsiteY393" fmla="*/ 127810 h 2053850"/>
                    <a:gd name="connsiteX394" fmla="*/ 1025813 w 2051465"/>
                    <a:gd name="connsiteY394" fmla="*/ 0 h 2053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</a:cxnLst>
                  <a:rect l="l" t="t" r="r" b="b"/>
                  <a:pathLst>
                    <a:path w="2051465" h="2053850">
                      <a:moveTo>
                        <a:pt x="999938" y="1647136"/>
                      </a:moveTo>
                      <a:lnTo>
                        <a:pt x="1004820" y="1675527"/>
                      </a:lnTo>
                      <a:lnTo>
                        <a:pt x="983988" y="1695690"/>
                      </a:lnTo>
                      <a:lnTo>
                        <a:pt x="1012795" y="1699884"/>
                      </a:lnTo>
                      <a:lnTo>
                        <a:pt x="1025815" y="1725855"/>
                      </a:lnTo>
                      <a:lnTo>
                        <a:pt x="1038672" y="1699884"/>
                      </a:lnTo>
                      <a:lnTo>
                        <a:pt x="1067478" y="1695690"/>
                      </a:lnTo>
                      <a:lnTo>
                        <a:pt x="1046646" y="1675527"/>
                      </a:lnTo>
                      <a:lnTo>
                        <a:pt x="1051529" y="1647136"/>
                      </a:lnTo>
                      <a:lnTo>
                        <a:pt x="1025815" y="1660525"/>
                      </a:lnTo>
                      <a:close/>
                      <a:moveTo>
                        <a:pt x="1158095" y="1634016"/>
                      </a:moveTo>
                      <a:lnTo>
                        <a:pt x="1135334" y="1651418"/>
                      </a:lnTo>
                      <a:lnTo>
                        <a:pt x="1108086" y="1642797"/>
                      </a:lnTo>
                      <a:lnTo>
                        <a:pt x="1117703" y="1669779"/>
                      </a:lnTo>
                      <a:lnTo>
                        <a:pt x="1100873" y="1692928"/>
                      </a:lnTo>
                      <a:lnTo>
                        <a:pt x="1129724" y="1692130"/>
                      </a:lnTo>
                      <a:lnTo>
                        <a:pt x="1146715" y="1715120"/>
                      </a:lnTo>
                      <a:lnTo>
                        <a:pt x="1154729" y="1687660"/>
                      </a:lnTo>
                      <a:lnTo>
                        <a:pt x="1181977" y="1678719"/>
                      </a:lnTo>
                      <a:lnTo>
                        <a:pt x="1158255" y="1662594"/>
                      </a:lnTo>
                      <a:close/>
                      <a:moveTo>
                        <a:pt x="892528" y="1634016"/>
                      </a:moveTo>
                      <a:lnTo>
                        <a:pt x="892365" y="1662594"/>
                      </a:lnTo>
                      <a:lnTo>
                        <a:pt x="868294" y="1678719"/>
                      </a:lnTo>
                      <a:lnTo>
                        <a:pt x="895943" y="1687660"/>
                      </a:lnTo>
                      <a:lnTo>
                        <a:pt x="904076" y="1715120"/>
                      </a:lnTo>
                      <a:lnTo>
                        <a:pt x="921316" y="1692130"/>
                      </a:lnTo>
                      <a:lnTo>
                        <a:pt x="950591" y="1692928"/>
                      </a:lnTo>
                      <a:lnTo>
                        <a:pt x="933514" y="1669779"/>
                      </a:lnTo>
                      <a:lnTo>
                        <a:pt x="943272" y="1642797"/>
                      </a:lnTo>
                      <a:lnTo>
                        <a:pt x="915623" y="1651418"/>
                      </a:lnTo>
                      <a:close/>
                      <a:moveTo>
                        <a:pt x="1261194" y="1600620"/>
                      </a:moveTo>
                      <a:lnTo>
                        <a:pt x="1241782" y="1622103"/>
                      </a:lnTo>
                      <a:lnTo>
                        <a:pt x="1212988" y="1618197"/>
                      </a:lnTo>
                      <a:lnTo>
                        <a:pt x="1227385" y="1643586"/>
                      </a:lnTo>
                      <a:lnTo>
                        <a:pt x="1214768" y="1669951"/>
                      </a:lnTo>
                      <a:lnTo>
                        <a:pt x="1243238" y="1663929"/>
                      </a:lnTo>
                      <a:lnTo>
                        <a:pt x="1264106" y="1684110"/>
                      </a:lnTo>
                      <a:lnTo>
                        <a:pt x="1267341" y="1655141"/>
                      </a:lnTo>
                      <a:lnTo>
                        <a:pt x="1292900" y="1641307"/>
                      </a:lnTo>
                      <a:lnTo>
                        <a:pt x="1266371" y="1629264"/>
                      </a:lnTo>
                      <a:close/>
                      <a:moveTo>
                        <a:pt x="789798" y="1600620"/>
                      </a:moveTo>
                      <a:lnTo>
                        <a:pt x="784699" y="1629264"/>
                      </a:lnTo>
                      <a:lnTo>
                        <a:pt x="758565" y="1641307"/>
                      </a:lnTo>
                      <a:lnTo>
                        <a:pt x="783743" y="1655141"/>
                      </a:lnTo>
                      <a:lnTo>
                        <a:pt x="786930" y="1684110"/>
                      </a:lnTo>
                      <a:lnTo>
                        <a:pt x="807486" y="1663929"/>
                      </a:lnTo>
                      <a:lnTo>
                        <a:pt x="835531" y="1669951"/>
                      </a:lnTo>
                      <a:lnTo>
                        <a:pt x="823102" y="1643586"/>
                      </a:lnTo>
                      <a:lnTo>
                        <a:pt x="837284" y="1618197"/>
                      </a:lnTo>
                      <a:lnTo>
                        <a:pt x="808920" y="1622103"/>
                      </a:lnTo>
                      <a:close/>
                      <a:moveTo>
                        <a:pt x="1357465" y="1551719"/>
                      </a:moveTo>
                      <a:lnTo>
                        <a:pt x="1342004" y="1576277"/>
                      </a:lnTo>
                      <a:lnTo>
                        <a:pt x="1313176" y="1577408"/>
                      </a:lnTo>
                      <a:lnTo>
                        <a:pt x="1331697" y="1599703"/>
                      </a:lnTo>
                      <a:lnTo>
                        <a:pt x="1323806" y="1627492"/>
                      </a:lnTo>
                      <a:lnTo>
                        <a:pt x="1350701" y="1616829"/>
                      </a:lnTo>
                      <a:lnTo>
                        <a:pt x="1374698" y="1632823"/>
                      </a:lnTo>
                      <a:lnTo>
                        <a:pt x="1372765" y="1603904"/>
                      </a:lnTo>
                      <a:lnTo>
                        <a:pt x="1395473" y="1585970"/>
                      </a:lnTo>
                      <a:lnTo>
                        <a:pt x="1367450" y="1578862"/>
                      </a:lnTo>
                      <a:close/>
                      <a:moveTo>
                        <a:pt x="694000" y="1551719"/>
                      </a:moveTo>
                      <a:lnTo>
                        <a:pt x="684015" y="1578862"/>
                      </a:lnTo>
                      <a:lnTo>
                        <a:pt x="655992" y="1585970"/>
                      </a:lnTo>
                      <a:lnTo>
                        <a:pt x="678700" y="1603904"/>
                      </a:lnTo>
                      <a:lnTo>
                        <a:pt x="676768" y="1632823"/>
                      </a:lnTo>
                      <a:lnTo>
                        <a:pt x="700764" y="1616829"/>
                      </a:lnTo>
                      <a:lnTo>
                        <a:pt x="727660" y="1627492"/>
                      </a:lnTo>
                      <a:lnTo>
                        <a:pt x="719768" y="1599703"/>
                      </a:lnTo>
                      <a:lnTo>
                        <a:pt x="738289" y="1577408"/>
                      </a:lnTo>
                      <a:lnTo>
                        <a:pt x="709461" y="1576277"/>
                      </a:lnTo>
                      <a:close/>
                      <a:moveTo>
                        <a:pt x="1442881" y="1486119"/>
                      </a:moveTo>
                      <a:lnTo>
                        <a:pt x="1431951" y="1512757"/>
                      </a:lnTo>
                      <a:lnTo>
                        <a:pt x="1403822" y="1518854"/>
                      </a:lnTo>
                      <a:lnTo>
                        <a:pt x="1425843" y="1537468"/>
                      </a:lnTo>
                      <a:lnTo>
                        <a:pt x="1422950" y="1566031"/>
                      </a:lnTo>
                      <a:lnTo>
                        <a:pt x="1447382" y="1550947"/>
                      </a:lnTo>
                      <a:lnTo>
                        <a:pt x="1473743" y="1562501"/>
                      </a:lnTo>
                      <a:lnTo>
                        <a:pt x="1466992" y="1534580"/>
                      </a:lnTo>
                      <a:lnTo>
                        <a:pt x="1486119" y="1513078"/>
                      </a:lnTo>
                      <a:lnTo>
                        <a:pt x="1457347" y="1510831"/>
                      </a:lnTo>
                      <a:close/>
                      <a:moveTo>
                        <a:pt x="607391" y="1486119"/>
                      </a:moveTo>
                      <a:lnTo>
                        <a:pt x="592925" y="1510831"/>
                      </a:lnTo>
                      <a:lnTo>
                        <a:pt x="564153" y="1513078"/>
                      </a:lnTo>
                      <a:lnTo>
                        <a:pt x="583281" y="1534580"/>
                      </a:lnTo>
                      <a:lnTo>
                        <a:pt x="576530" y="1562501"/>
                      </a:lnTo>
                      <a:lnTo>
                        <a:pt x="602891" y="1550947"/>
                      </a:lnTo>
                      <a:lnTo>
                        <a:pt x="627323" y="1566031"/>
                      </a:lnTo>
                      <a:lnTo>
                        <a:pt x="624429" y="1537468"/>
                      </a:lnTo>
                      <a:lnTo>
                        <a:pt x="646450" y="1518854"/>
                      </a:lnTo>
                      <a:lnTo>
                        <a:pt x="618321" y="1512757"/>
                      </a:lnTo>
                      <a:close/>
                      <a:moveTo>
                        <a:pt x="1516404" y="1406208"/>
                      </a:moveTo>
                      <a:lnTo>
                        <a:pt x="1510318" y="1434337"/>
                      </a:lnTo>
                      <a:lnTo>
                        <a:pt x="1483734" y="1445267"/>
                      </a:lnTo>
                      <a:lnTo>
                        <a:pt x="1508557" y="1459894"/>
                      </a:lnTo>
                      <a:lnTo>
                        <a:pt x="1510799" y="1488505"/>
                      </a:lnTo>
                      <a:lnTo>
                        <a:pt x="1532098" y="1469378"/>
                      </a:lnTo>
                      <a:lnTo>
                        <a:pt x="1560123" y="1476289"/>
                      </a:lnTo>
                      <a:lnTo>
                        <a:pt x="1548593" y="1449768"/>
                      </a:lnTo>
                      <a:lnTo>
                        <a:pt x="1563646" y="1425336"/>
                      </a:lnTo>
                      <a:lnTo>
                        <a:pt x="1534980" y="1428229"/>
                      </a:lnTo>
                      <a:close/>
                      <a:moveTo>
                        <a:pt x="534575" y="1406208"/>
                      </a:moveTo>
                      <a:lnTo>
                        <a:pt x="515721" y="1428229"/>
                      </a:lnTo>
                      <a:lnTo>
                        <a:pt x="486627" y="1425336"/>
                      </a:lnTo>
                      <a:lnTo>
                        <a:pt x="502068" y="1449768"/>
                      </a:lnTo>
                      <a:lnTo>
                        <a:pt x="490203" y="1476289"/>
                      </a:lnTo>
                      <a:lnTo>
                        <a:pt x="518646" y="1469378"/>
                      </a:lnTo>
                      <a:lnTo>
                        <a:pt x="540263" y="1488505"/>
                      </a:lnTo>
                      <a:lnTo>
                        <a:pt x="542539" y="1459894"/>
                      </a:lnTo>
                      <a:lnTo>
                        <a:pt x="567731" y="1445267"/>
                      </a:lnTo>
                      <a:lnTo>
                        <a:pt x="540751" y="1434337"/>
                      </a:lnTo>
                      <a:close/>
                      <a:moveTo>
                        <a:pt x="1575022" y="1315562"/>
                      </a:moveTo>
                      <a:lnTo>
                        <a:pt x="1573729" y="1344390"/>
                      </a:lnTo>
                      <a:lnTo>
                        <a:pt x="1549333" y="1359851"/>
                      </a:lnTo>
                      <a:lnTo>
                        <a:pt x="1576476" y="1369836"/>
                      </a:lnTo>
                      <a:lnTo>
                        <a:pt x="1583584" y="1397859"/>
                      </a:lnTo>
                      <a:lnTo>
                        <a:pt x="1601518" y="1375151"/>
                      </a:lnTo>
                      <a:lnTo>
                        <a:pt x="1630437" y="1377084"/>
                      </a:lnTo>
                      <a:lnTo>
                        <a:pt x="1614443" y="1353087"/>
                      </a:lnTo>
                      <a:lnTo>
                        <a:pt x="1625106" y="1326192"/>
                      </a:lnTo>
                      <a:lnTo>
                        <a:pt x="1597156" y="1334083"/>
                      </a:lnTo>
                      <a:close/>
                      <a:moveTo>
                        <a:pt x="476443" y="1315562"/>
                      </a:moveTo>
                      <a:lnTo>
                        <a:pt x="454309" y="1334083"/>
                      </a:lnTo>
                      <a:lnTo>
                        <a:pt x="426359" y="1326192"/>
                      </a:lnTo>
                      <a:lnTo>
                        <a:pt x="437022" y="1353087"/>
                      </a:lnTo>
                      <a:lnTo>
                        <a:pt x="421027" y="1377084"/>
                      </a:lnTo>
                      <a:lnTo>
                        <a:pt x="449947" y="1375151"/>
                      </a:lnTo>
                      <a:lnTo>
                        <a:pt x="467880" y="1397859"/>
                      </a:lnTo>
                      <a:lnTo>
                        <a:pt x="474989" y="1369836"/>
                      </a:lnTo>
                      <a:lnTo>
                        <a:pt x="502131" y="1359851"/>
                      </a:lnTo>
                      <a:lnTo>
                        <a:pt x="477735" y="1344390"/>
                      </a:lnTo>
                      <a:close/>
                      <a:moveTo>
                        <a:pt x="1615811" y="1215374"/>
                      </a:moveTo>
                      <a:lnTo>
                        <a:pt x="1619717" y="1244168"/>
                      </a:lnTo>
                      <a:lnTo>
                        <a:pt x="1598234" y="1263580"/>
                      </a:lnTo>
                      <a:lnTo>
                        <a:pt x="1626878" y="1268757"/>
                      </a:lnTo>
                      <a:lnTo>
                        <a:pt x="1638921" y="1295286"/>
                      </a:lnTo>
                      <a:lnTo>
                        <a:pt x="1652755" y="1269727"/>
                      </a:lnTo>
                      <a:lnTo>
                        <a:pt x="1681724" y="1266492"/>
                      </a:lnTo>
                      <a:lnTo>
                        <a:pt x="1661543" y="1245624"/>
                      </a:lnTo>
                      <a:lnTo>
                        <a:pt x="1667402" y="1217154"/>
                      </a:lnTo>
                      <a:lnTo>
                        <a:pt x="1641200" y="1229771"/>
                      </a:lnTo>
                      <a:close/>
                      <a:moveTo>
                        <a:pt x="434713" y="1215374"/>
                      </a:moveTo>
                      <a:lnTo>
                        <a:pt x="409687" y="1229771"/>
                      </a:lnTo>
                      <a:lnTo>
                        <a:pt x="383858" y="1217154"/>
                      </a:lnTo>
                      <a:lnTo>
                        <a:pt x="389634" y="1245624"/>
                      </a:lnTo>
                      <a:lnTo>
                        <a:pt x="369741" y="1266492"/>
                      </a:lnTo>
                      <a:lnTo>
                        <a:pt x="398297" y="1269727"/>
                      </a:lnTo>
                      <a:lnTo>
                        <a:pt x="411932" y="1295286"/>
                      </a:lnTo>
                      <a:lnTo>
                        <a:pt x="423804" y="1268757"/>
                      </a:lnTo>
                      <a:lnTo>
                        <a:pt x="452038" y="1263580"/>
                      </a:lnTo>
                      <a:lnTo>
                        <a:pt x="430862" y="1244168"/>
                      </a:lnTo>
                      <a:close/>
                      <a:moveTo>
                        <a:pt x="1690261" y="1102066"/>
                      </a:moveTo>
                      <a:lnTo>
                        <a:pt x="1666655" y="1119015"/>
                      </a:lnTo>
                      <a:lnTo>
                        <a:pt x="1639493" y="1109237"/>
                      </a:lnTo>
                      <a:lnTo>
                        <a:pt x="1648223" y="1137104"/>
                      </a:lnTo>
                      <a:lnTo>
                        <a:pt x="1630438" y="1160082"/>
                      </a:lnTo>
                      <a:lnTo>
                        <a:pt x="1659541" y="1160245"/>
                      </a:lnTo>
                      <a:lnTo>
                        <a:pt x="1675871" y="1184363"/>
                      </a:lnTo>
                      <a:lnTo>
                        <a:pt x="1684926" y="1156659"/>
                      </a:lnTo>
                      <a:lnTo>
                        <a:pt x="1712735" y="1148511"/>
                      </a:lnTo>
                      <a:lnTo>
                        <a:pt x="1689453" y="1131237"/>
                      </a:lnTo>
                      <a:close/>
                      <a:moveTo>
                        <a:pt x="360012" y="1102066"/>
                      </a:moveTo>
                      <a:lnTo>
                        <a:pt x="360821" y="1131237"/>
                      </a:lnTo>
                      <a:lnTo>
                        <a:pt x="337538" y="1148511"/>
                      </a:lnTo>
                      <a:lnTo>
                        <a:pt x="365348" y="1156659"/>
                      </a:lnTo>
                      <a:lnTo>
                        <a:pt x="374402" y="1184363"/>
                      </a:lnTo>
                      <a:lnTo>
                        <a:pt x="390732" y="1160245"/>
                      </a:lnTo>
                      <a:lnTo>
                        <a:pt x="419835" y="1160082"/>
                      </a:lnTo>
                      <a:lnTo>
                        <a:pt x="402050" y="1137104"/>
                      </a:lnTo>
                      <a:lnTo>
                        <a:pt x="410781" y="1109237"/>
                      </a:lnTo>
                      <a:lnTo>
                        <a:pt x="383618" y="1119015"/>
                      </a:lnTo>
                      <a:close/>
                      <a:moveTo>
                        <a:pt x="1693366" y="985180"/>
                      </a:moveTo>
                      <a:lnTo>
                        <a:pt x="1673244" y="1006012"/>
                      </a:lnTo>
                      <a:lnTo>
                        <a:pt x="1644750" y="1001130"/>
                      </a:lnTo>
                      <a:lnTo>
                        <a:pt x="1658273" y="1027007"/>
                      </a:lnTo>
                      <a:lnTo>
                        <a:pt x="1644750" y="1052721"/>
                      </a:lnTo>
                      <a:lnTo>
                        <a:pt x="1673244" y="1047838"/>
                      </a:lnTo>
                      <a:lnTo>
                        <a:pt x="1693366" y="1068670"/>
                      </a:lnTo>
                      <a:lnTo>
                        <a:pt x="1697552" y="1039864"/>
                      </a:lnTo>
                      <a:lnTo>
                        <a:pt x="1723469" y="1027007"/>
                      </a:lnTo>
                      <a:lnTo>
                        <a:pt x="1697552" y="1013987"/>
                      </a:lnTo>
                      <a:close/>
                      <a:moveTo>
                        <a:pt x="357363" y="985180"/>
                      </a:moveTo>
                      <a:lnTo>
                        <a:pt x="353114" y="1013987"/>
                      </a:lnTo>
                      <a:lnTo>
                        <a:pt x="326803" y="1027007"/>
                      </a:lnTo>
                      <a:lnTo>
                        <a:pt x="353114" y="1039864"/>
                      </a:lnTo>
                      <a:lnTo>
                        <a:pt x="357363" y="1068670"/>
                      </a:lnTo>
                      <a:lnTo>
                        <a:pt x="377790" y="1047838"/>
                      </a:lnTo>
                      <a:lnTo>
                        <a:pt x="406715" y="1052721"/>
                      </a:lnTo>
                      <a:lnTo>
                        <a:pt x="392988" y="1027007"/>
                      </a:lnTo>
                      <a:lnTo>
                        <a:pt x="406715" y="1001130"/>
                      </a:lnTo>
                      <a:lnTo>
                        <a:pt x="377790" y="1006012"/>
                      </a:lnTo>
                      <a:close/>
                      <a:moveTo>
                        <a:pt x="1675871" y="869487"/>
                      </a:moveTo>
                      <a:lnTo>
                        <a:pt x="1659541" y="893558"/>
                      </a:lnTo>
                      <a:lnTo>
                        <a:pt x="1630438" y="893721"/>
                      </a:lnTo>
                      <a:lnTo>
                        <a:pt x="1648223" y="916816"/>
                      </a:lnTo>
                      <a:lnTo>
                        <a:pt x="1639493" y="944628"/>
                      </a:lnTo>
                      <a:lnTo>
                        <a:pt x="1666655" y="934707"/>
                      </a:lnTo>
                      <a:lnTo>
                        <a:pt x="1690261" y="951784"/>
                      </a:lnTo>
                      <a:lnTo>
                        <a:pt x="1689453" y="922509"/>
                      </a:lnTo>
                      <a:lnTo>
                        <a:pt x="1712735" y="905269"/>
                      </a:lnTo>
                      <a:lnTo>
                        <a:pt x="1684926" y="897136"/>
                      </a:lnTo>
                      <a:close/>
                      <a:moveTo>
                        <a:pt x="374402" y="869487"/>
                      </a:moveTo>
                      <a:lnTo>
                        <a:pt x="365348" y="897136"/>
                      </a:lnTo>
                      <a:lnTo>
                        <a:pt x="337538" y="905269"/>
                      </a:lnTo>
                      <a:lnTo>
                        <a:pt x="360821" y="922509"/>
                      </a:lnTo>
                      <a:lnTo>
                        <a:pt x="360012" y="951784"/>
                      </a:lnTo>
                      <a:lnTo>
                        <a:pt x="383618" y="934707"/>
                      </a:lnTo>
                      <a:lnTo>
                        <a:pt x="410781" y="944628"/>
                      </a:lnTo>
                      <a:lnTo>
                        <a:pt x="402050" y="916816"/>
                      </a:lnTo>
                      <a:lnTo>
                        <a:pt x="419835" y="893721"/>
                      </a:lnTo>
                      <a:lnTo>
                        <a:pt x="390732" y="893558"/>
                      </a:lnTo>
                      <a:close/>
                      <a:moveTo>
                        <a:pt x="1638921" y="759758"/>
                      </a:moveTo>
                      <a:lnTo>
                        <a:pt x="1626878" y="785892"/>
                      </a:lnTo>
                      <a:lnTo>
                        <a:pt x="1598234" y="790991"/>
                      </a:lnTo>
                      <a:lnTo>
                        <a:pt x="1619717" y="810272"/>
                      </a:lnTo>
                      <a:lnTo>
                        <a:pt x="1615811" y="838477"/>
                      </a:lnTo>
                      <a:lnTo>
                        <a:pt x="1641200" y="824295"/>
                      </a:lnTo>
                      <a:lnTo>
                        <a:pt x="1667402" y="836724"/>
                      </a:lnTo>
                      <a:lnTo>
                        <a:pt x="1661543" y="808838"/>
                      </a:lnTo>
                      <a:lnTo>
                        <a:pt x="1681724" y="788123"/>
                      </a:lnTo>
                      <a:lnTo>
                        <a:pt x="1652755" y="784936"/>
                      </a:lnTo>
                      <a:close/>
                      <a:moveTo>
                        <a:pt x="411932" y="759758"/>
                      </a:moveTo>
                      <a:lnTo>
                        <a:pt x="398297" y="784936"/>
                      </a:lnTo>
                      <a:lnTo>
                        <a:pt x="369741" y="788123"/>
                      </a:lnTo>
                      <a:lnTo>
                        <a:pt x="389634" y="808838"/>
                      </a:lnTo>
                      <a:lnTo>
                        <a:pt x="383858" y="836724"/>
                      </a:lnTo>
                      <a:lnTo>
                        <a:pt x="409687" y="824295"/>
                      </a:lnTo>
                      <a:lnTo>
                        <a:pt x="434713" y="838477"/>
                      </a:lnTo>
                      <a:lnTo>
                        <a:pt x="430862" y="810272"/>
                      </a:lnTo>
                      <a:lnTo>
                        <a:pt x="452038" y="790991"/>
                      </a:lnTo>
                      <a:lnTo>
                        <a:pt x="423804" y="785892"/>
                      </a:lnTo>
                      <a:close/>
                      <a:moveTo>
                        <a:pt x="1583584" y="655992"/>
                      </a:moveTo>
                      <a:lnTo>
                        <a:pt x="1576476" y="684421"/>
                      </a:lnTo>
                      <a:lnTo>
                        <a:pt x="1549333" y="694551"/>
                      </a:lnTo>
                      <a:lnTo>
                        <a:pt x="1573729" y="710236"/>
                      </a:lnTo>
                      <a:lnTo>
                        <a:pt x="1575022" y="739482"/>
                      </a:lnTo>
                      <a:lnTo>
                        <a:pt x="1597156" y="720856"/>
                      </a:lnTo>
                      <a:lnTo>
                        <a:pt x="1625106" y="728699"/>
                      </a:lnTo>
                      <a:lnTo>
                        <a:pt x="1614443" y="701577"/>
                      </a:lnTo>
                      <a:lnTo>
                        <a:pt x="1630437" y="677232"/>
                      </a:lnTo>
                      <a:lnTo>
                        <a:pt x="1601518" y="679029"/>
                      </a:lnTo>
                      <a:close/>
                      <a:moveTo>
                        <a:pt x="467880" y="655992"/>
                      </a:moveTo>
                      <a:lnTo>
                        <a:pt x="449947" y="679029"/>
                      </a:lnTo>
                      <a:lnTo>
                        <a:pt x="421027" y="677232"/>
                      </a:lnTo>
                      <a:lnTo>
                        <a:pt x="437022" y="701577"/>
                      </a:lnTo>
                      <a:lnTo>
                        <a:pt x="426359" y="728699"/>
                      </a:lnTo>
                      <a:lnTo>
                        <a:pt x="454309" y="720856"/>
                      </a:lnTo>
                      <a:lnTo>
                        <a:pt x="476443" y="739482"/>
                      </a:lnTo>
                      <a:lnTo>
                        <a:pt x="477735" y="710236"/>
                      </a:lnTo>
                      <a:lnTo>
                        <a:pt x="502131" y="694551"/>
                      </a:lnTo>
                      <a:lnTo>
                        <a:pt x="474989" y="684421"/>
                      </a:lnTo>
                      <a:close/>
                      <a:moveTo>
                        <a:pt x="1510799" y="565346"/>
                      </a:moveTo>
                      <a:lnTo>
                        <a:pt x="1508557" y="594118"/>
                      </a:lnTo>
                      <a:lnTo>
                        <a:pt x="1483734" y="608584"/>
                      </a:lnTo>
                      <a:lnTo>
                        <a:pt x="1510318" y="619514"/>
                      </a:lnTo>
                      <a:lnTo>
                        <a:pt x="1516404" y="647643"/>
                      </a:lnTo>
                      <a:lnTo>
                        <a:pt x="1534980" y="625783"/>
                      </a:lnTo>
                      <a:lnTo>
                        <a:pt x="1563646" y="628516"/>
                      </a:lnTo>
                      <a:lnTo>
                        <a:pt x="1548593" y="604084"/>
                      </a:lnTo>
                      <a:lnTo>
                        <a:pt x="1560123" y="577723"/>
                      </a:lnTo>
                      <a:lnTo>
                        <a:pt x="1532098" y="584474"/>
                      </a:lnTo>
                      <a:close/>
                      <a:moveTo>
                        <a:pt x="540263" y="565346"/>
                      </a:moveTo>
                      <a:lnTo>
                        <a:pt x="518646" y="584474"/>
                      </a:lnTo>
                      <a:lnTo>
                        <a:pt x="490203" y="577723"/>
                      </a:lnTo>
                      <a:lnTo>
                        <a:pt x="502068" y="604084"/>
                      </a:lnTo>
                      <a:lnTo>
                        <a:pt x="486627" y="628516"/>
                      </a:lnTo>
                      <a:lnTo>
                        <a:pt x="515721" y="625783"/>
                      </a:lnTo>
                      <a:lnTo>
                        <a:pt x="534575" y="647643"/>
                      </a:lnTo>
                      <a:lnTo>
                        <a:pt x="540751" y="619514"/>
                      </a:lnTo>
                      <a:lnTo>
                        <a:pt x="567731" y="608584"/>
                      </a:lnTo>
                      <a:lnTo>
                        <a:pt x="542539" y="594118"/>
                      </a:lnTo>
                      <a:close/>
                      <a:moveTo>
                        <a:pt x="1422950" y="487819"/>
                      </a:moveTo>
                      <a:lnTo>
                        <a:pt x="1425843" y="516913"/>
                      </a:lnTo>
                      <a:lnTo>
                        <a:pt x="1403822" y="535766"/>
                      </a:lnTo>
                      <a:lnTo>
                        <a:pt x="1431951" y="541943"/>
                      </a:lnTo>
                      <a:lnTo>
                        <a:pt x="1442881" y="568923"/>
                      </a:lnTo>
                      <a:lnTo>
                        <a:pt x="1457347" y="543731"/>
                      </a:lnTo>
                      <a:lnTo>
                        <a:pt x="1486119" y="541618"/>
                      </a:lnTo>
                      <a:lnTo>
                        <a:pt x="1466992" y="519838"/>
                      </a:lnTo>
                      <a:lnTo>
                        <a:pt x="1473743" y="491557"/>
                      </a:lnTo>
                      <a:lnTo>
                        <a:pt x="1447382" y="503260"/>
                      </a:lnTo>
                      <a:close/>
                      <a:moveTo>
                        <a:pt x="627323" y="487819"/>
                      </a:moveTo>
                      <a:lnTo>
                        <a:pt x="602891" y="503260"/>
                      </a:lnTo>
                      <a:lnTo>
                        <a:pt x="576530" y="491557"/>
                      </a:lnTo>
                      <a:lnTo>
                        <a:pt x="583281" y="519838"/>
                      </a:lnTo>
                      <a:lnTo>
                        <a:pt x="564153" y="541618"/>
                      </a:lnTo>
                      <a:lnTo>
                        <a:pt x="592925" y="543731"/>
                      </a:lnTo>
                      <a:lnTo>
                        <a:pt x="607391" y="568923"/>
                      </a:lnTo>
                      <a:lnTo>
                        <a:pt x="618321" y="541943"/>
                      </a:lnTo>
                      <a:lnTo>
                        <a:pt x="646450" y="535766"/>
                      </a:lnTo>
                      <a:lnTo>
                        <a:pt x="624429" y="516913"/>
                      </a:lnTo>
                      <a:close/>
                      <a:moveTo>
                        <a:pt x="1374698" y="421027"/>
                      </a:moveTo>
                      <a:lnTo>
                        <a:pt x="1350701" y="437421"/>
                      </a:lnTo>
                      <a:lnTo>
                        <a:pt x="1323806" y="426437"/>
                      </a:lnTo>
                      <a:lnTo>
                        <a:pt x="1331697" y="454798"/>
                      </a:lnTo>
                      <a:lnTo>
                        <a:pt x="1313176" y="477422"/>
                      </a:lnTo>
                      <a:lnTo>
                        <a:pt x="1342004" y="478569"/>
                      </a:lnTo>
                      <a:lnTo>
                        <a:pt x="1357465" y="503324"/>
                      </a:lnTo>
                      <a:lnTo>
                        <a:pt x="1367450" y="475783"/>
                      </a:lnTo>
                      <a:lnTo>
                        <a:pt x="1395473" y="468569"/>
                      </a:lnTo>
                      <a:lnTo>
                        <a:pt x="1372765" y="450372"/>
                      </a:lnTo>
                      <a:close/>
                      <a:moveTo>
                        <a:pt x="676768" y="421027"/>
                      </a:moveTo>
                      <a:lnTo>
                        <a:pt x="678700" y="450372"/>
                      </a:lnTo>
                      <a:lnTo>
                        <a:pt x="655992" y="468569"/>
                      </a:lnTo>
                      <a:lnTo>
                        <a:pt x="684015" y="475783"/>
                      </a:lnTo>
                      <a:lnTo>
                        <a:pt x="694000" y="503324"/>
                      </a:lnTo>
                      <a:lnTo>
                        <a:pt x="709461" y="478569"/>
                      </a:lnTo>
                      <a:lnTo>
                        <a:pt x="738289" y="477422"/>
                      </a:lnTo>
                      <a:lnTo>
                        <a:pt x="719768" y="454798"/>
                      </a:lnTo>
                      <a:lnTo>
                        <a:pt x="727660" y="426437"/>
                      </a:lnTo>
                      <a:lnTo>
                        <a:pt x="700764" y="437421"/>
                      </a:lnTo>
                      <a:close/>
                      <a:moveTo>
                        <a:pt x="1264106" y="369741"/>
                      </a:moveTo>
                      <a:lnTo>
                        <a:pt x="1243238" y="389883"/>
                      </a:lnTo>
                      <a:lnTo>
                        <a:pt x="1214768" y="384035"/>
                      </a:lnTo>
                      <a:lnTo>
                        <a:pt x="1227385" y="410187"/>
                      </a:lnTo>
                      <a:lnTo>
                        <a:pt x="1212988" y="435526"/>
                      </a:lnTo>
                      <a:lnTo>
                        <a:pt x="1241782" y="431628"/>
                      </a:lnTo>
                      <a:lnTo>
                        <a:pt x="1261194" y="453231"/>
                      </a:lnTo>
                      <a:lnTo>
                        <a:pt x="1266371" y="424481"/>
                      </a:lnTo>
                      <a:lnTo>
                        <a:pt x="1292900" y="412461"/>
                      </a:lnTo>
                      <a:lnTo>
                        <a:pt x="1267341" y="398654"/>
                      </a:lnTo>
                      <a:close/>
                      <a:moveTo>
                        <a:pt x="786930" y="369741"/>
                      </a:moveTo>
                      <a:lnTo>
                        <a:pt x="783743" y="398654"/>
                      </a:lnTo>
                      <a:lnTo>
                        <a:pt x="758565" y="412461"/>
                      </a:lnTo>
                      <a:lnTo>
                        <a:pt x="784699" y="424481"/>
                      </a:lnTo>
                      <a:lnTo>
                        <a:pt x="789798" y="453231"/>
                      </a:lnTo>
                      <a:lnTo>
                        <a:pt x="808920" y="431628"/>
                      </a:lnTo>
                      <a:lnTo>
                        <a:pt x="837284" y="435526"/>
                      </a:lnTo>
                      <a:lnTo>
                        <a:pt x="823102" y="410187"/>
                      </a:lnTo>
                      <a:lnTo>
                        <a:pt x="835531" y="384035"/>
                      </a:lnTo>
                      <a:lnTo>
                        <a:pt x="807486" y="389883"/>
                      </a:lnTo>
                      <a:close/>
                      <a:moveTo>
                        <a:pt x="1146715" y="338730"/>
                      </a:moveTo>
                      <a:lnTo>
                        <a:pt x="1129724" y="362174"/>
                      </a:lnTo>
                      <a:lnTo>
                        <a:pt x="1100873" y="361204"/>
                      </a:lnTo>
                      <a:lnTo>
                        <a:pt x="1117703" y="384810"/>
                      </a:lnTo>
                      <a:lnTo>
                        <a:pt x="1108086" y="412135"/>
                      </a:lnTo>
                      <a:lnTo>
                        <a:pt x="1135334" y="403242"/>
                      </a:lnTo>
                      <a:lnTo>
                        <a:pt x="1158095" y="421027"/>
                      </a:lnTo>
                      <a:lnTo>
                        <a:pt x="1158255" y="391924"/>
                      </a:lnTo>
                      <a:lnTo>
                        <a:pt x="1181977" y="375594"/>
                      </a:lnTo>
                      <a:lnTo>
                        <a:pt x="1154729" y="366540"/>
                      </a:lnTo>
                      <a:close/>
                      <a:moveTo>
                        <a:pt x="904076" y="338730"/>
                      </a:moveTo>
                      <a:lnTo>
                        <a:pt x="895943" y="366540"/>
                      </a:lnTo>
                      <a:lnTo>
                        <a:pt x="868294" y="375594"/>
                      </a:lnTo>
                      <a:lnTo>
                        <a:pt x="892365" y="391924"/>
                      </a:lnTo>
                      <a:lnTo>
                        <a:pt x="892528" y="421027"/>
                      </a:lnTo>
                      <a:lnTo>
                        <a:pt x="915623" y="403242"/>
                      </a:lnTo>
                      <a:lnTo>
                        <a:pt x="943272" y="412135"/>
                      </a:lnTo>
                      <a:lnTo>
                        <a:pt x="933514" y="384810"/>
                      </a:lnTo>
                      <a:lnTo>
                        <a:pt x="950591" y="361204"/>
                      </a:lnTo>
                      <a:lnTo>
                        <a:pt x="921316" y="362174"/>
                      </a:lnTo>
                      <a:close/>
                      <a:moveTo>
                        <a:pt x="1025815" y="327996"/>
                      </a:moveTo>
                      <a:lnTo>
                        <a:pt x="1012795" y="353914"/>
                      </a:lnTo>
                      <a:lnTo>
                        <a:pt x="983988" y="358099"/>
                      </a:lnTo>
                      <a:lnTo>
                        <a:pt x="1004820" y="378222"/>
                      </a:lnTo>
                      <a:lnTo>
                        <a:pt x="999938" y="406715"/>
                      </a:lnTo>
                      <a:lnTo>
                        <a:pt x="1025815" y="393193"/>
                      </a:lnTo>
                      <a:lnTo>
                        <a:pt x="1051529" y="406715"/>
                      </a:lnTo>
                      <a:lnTo>
                        <a:pt x="1046646" y="378222"/>
                      </a:lnTo>
                      <a:lnTo>
                        <a:pt x="1067478" y="358099"/>
                      </a:lnTo>
                      <a:lnTo>
                        <a:pt x="1038672" y="353914"/>
                      </a:lnTo>
                      <a:close/>
                      <a:moveTo>
                        <a:pt x="1021692" y="287509"/>
                      </a:moveTo>
                      <a:cubicBezTo>
                        <a:pt x="1423168" y="287509"/>
                        <a:pt x="1748629" y="612970"/>
                        <a:pt x="1748629" y="1014446"/>
                      </a:cubicBezTo>
                      <a:cubicBezTo>
                        <a:pt x="1748629" y="1415922"/>
                        <a:pt x="1423168" y="1741383"/>
                        <a:pt x="1021692" y="1741383"/>
                      </a:cubicBezTo>
                      <a:cubicBezTo>
                        <a:pt x="620216" y="1741383"/>
                        <a:pt x="294755" y="1415922"/>
                        <a:pt x="294755" y="1014446"/>
                      </a:cubicBezTo>
                      <a:cubicBezTo>
                        <a:pt x="294755" y="612970"/>
                        <a:pt x="620216" y="287509"/>
                        <a:pt x="1021692" y="287509"/>
                      </a:cubicBezTo>
                      <a:close/>
                      <a:moveTo>
                        <a:pt x="1021692" y="204488"/>
                      </a:moveTo>
                      <a:cubicBezTo>
                        <a:pt x="574365" y="204488"/>
                        <a:pt x="211734" y="567119"/>
                        <a:pt x="211734" y="1014446"/>
                      </a:cubicBezTo>
                      <a:cubicBezTo>
                        <a:pt x="211734" y="1461773"/>
                        <a:pt x="574365" y="1824404"/>
                        <a:pt x="1021692" y="1824404"/>
                      </a:cubicBezTo>
                      <a:cubicBezTo>
                        <a:pt x="1469019" y="1824404"/>
                        <a:pt x="1831650" y="1461773"/>
                        <a:pt x="1831650" y="1014446"/>
                      </a:cubicBezTo>
                      <a:cubicBezTo>
                        <a:pt x="1831650" y="567119"/>
                        <a:pt x="1469019" y="204488"/>
                        <a:pt x="1021692" y="204488"/>
                      </a:cubicBezTo>
                      <a:close/>
                      <a:moveTo>
                        <a:pt x="1025813" y="0"/>
                      </a:moveTo>
                      <a:cubicBezTo>
                        <a:pt x="1111997" y="0"/>
                        <a:pt x="1184463" y="105835"/>
                        <a:pt x="1266289" y="127810"/>
                      </a:cubicBezTo>
                      <a:cubicBezTo>
                        <a:pt x="1348922" y="149947"/>
                        <a:pt x="1464641" y="94848"/>
                        <a:pt x="1538559" y="137667"/>
                      </a:cubicBezTo>
                      <a:cubicBezTo>
                        <a:pt x="1611992" y="180001"/>
                        <a:pt x="1622160" y="307811"/>
                        <a:pt x="1683167" y="368727"/>
                      </a:cubicBezTo>
                      <a:cubicBezTo>
                        <a:pt x="1744012" y="429804"/>
                        <a:pt x="1871674" y="439984"/>
                        <a:pt x="1913958" y="513503"/>
                      </a:cubicBezTo>
                      <a:cubicBezTo>
                        <a:pt x="1956728" y="587507"/>
                        <a:pt x="1901693" y="703360"/>
                        <a:pt x="1923803" y="786089"/>
                      </a:cubicBezTo>
                      <a:cubicBezTo>
                        <a:pt x="1945753" y="868011"/>
                        <a:pt x="2051465" y="940722"/>
                        <a:pt x="2051465" y="1027006"/>
                      </a:cubicBezTo>
                      <a:cubicBezTo>
                        <a:pt x="2051465" y="1113290"/>
                        <a:pt x="1945753" y="1186001"/>
                        <a:pt x="1923803" y="1267923"/>
                      </a:cubicBezTo>
                      <a:cubicBezTo>
                        <a:pt x="1901693" y="1350490"/>
                        <a:pt x="1956728" y="1466343"/>
                        <a:pt x="1913958" y="1540347"/>
                      </a:cubicBezTo>
                      <a:cubicBezTo>
                        <a:pt x="1871674" y="1613866"/>
                        <a:pt x="1744012" y="1624046"/>
                        <a:pt x="1683167" y="1685123"/>
                      </a:cubicBezTo>
                      <a:cubicBezTo>
                        <a:pt x="1622160" y="1746201"/>
                        <a:pt x="1611992" y="1873849"/>
                        <a:pt x="1538559" y="1916345"/>
                      </a:cubicBezTo>
                      <a:cubicBezTo>
                        <a:pt x="1464641" y="1959002"/>
                        <a:pt x="1348922" y="1903903"/>
                        <a:pt x="1266289" y="1926040"/>
                      </a:cubicBezTo>
                      <a:cubicBezTo>
                        <a:pt x="1184463" y="1948015"/>
                        <a:pt x="1111997" y="2053850"/>
                        <a:pt x="1025813" y="2053850"/>
                      </a:cubicBezTo>
                      <a:cubicBezTo>
                        <a:pt x="939468" y="2053850"/>
                        <a:pt x="867003" y="1948015"/>
                        <a:pt x="785177" y="1926040"/>
                      </a:cubicBezTo>
                      <a:cubicBezTo>
                        <a:pt x="702543" y="1903903"/>
                        <a:pt x="586825" y="1959002"/>
                        <a:pt x="512907" y="1916345"/>
                      </a:cubicBezTo>
                      <a:cubicBezTo>
                        <a:pt x="439473" y="1873849"/>
                        <a:pt x="429305" y="1746201"/>
                        <a:pt x="368299" y="1685123"/>
                      </a:cubicBezTo>
                      <a:cubicBezTo>
                        <a:pt x="307454" y="1624046"/>
                        <a:pt x="179792" y="1613866"/>
                        <a:pt x="137507" y="1540347"/>
                      </a:cubicBezTo>
                      <a:cubicBezTo>
                        <a:pt x="94738" y="1466343"/>
                        <a:pt x="149773" y="1350490"/>
                        <a:pt x="127662" y="1267923"/>
                      </a:cubicBezTo>
                      <a:cubicBezTo>
                        <a:pt x="105713" y="1186001"/>
                        <a:pt x="0" y="1113290"/>
                        <a:pt x="0" y="1027006"/>
                      </a:cubicBezTo>
                      <a:cubicBezTo>
                        <a:pt x="0" y="940722"/>
                        <a:pt x="105713" y="868011"/>
                        <a:pt x="127662" y="786089"/>
                      </a:cubicBezTo>
                      <a:cubicBezTo>
                        <a:pt x="149773" y="703360"/>
                        <a:pt x="94738" y="587507"/>
                        <a:pt x="137507" y="513503"/>
                      </a:cubicBezTo>
                      <a:cubicBezTo>
                        <a:pt x="179792" y="439984"/>
                        <a:pt x="307454" y="429804"/>
                        <a:pt x="368299" y="368727"/>
                      </a:cubicBezTo>
                      <a:cubicBezTo>
                        <a:pt x="429305" y="307811"/>
                        <a:pt x="439473" y="180001"/>
                        <a:pt x="512907" y="137667"/>
                      </a:cubicBezTo>
                      <a:cubicBezTo>
                        <a:pt x="586825" y="94848"/>
                        <a:pt x="702543" y="149947"/>
                        <a:pt x="785177" y="127810"/>
                      </a:cubicBezTo>
                      <a:cubicBezTo>
                        <a:pt x="867003" y="105835"/>
                        <a:pt x="939468" y="0"/>
                        <a:pt x="1025813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06" name="Freeform 352"/>
                <p:cNvSpPr>
                  <a:spLocks/>
                </p:cNvSpPr>
                <p:nvPr/>
              </p:nvSpPr>
              <p:spPr bwMode="auto">
                <a:xfrm>
                  <a:off x="7016283" y="5434671"/>
                  <a:ext cx="865909" cy="1238035"/>
                </a:xfrm>
                <a:custGeom>
                  <a:avLst/>
                  <a:gdLst>
                    <a:gd name="T0" fmla="*/ 3234 w 5365"/>
                    <a:gd name="T1" fmla="*/ 384 h 7662"/>
                    <a:gd name="T2" fmla="*/ 1547 w 5365"/>
                    <a:gd name="T3" fmla="*/ 444 h 7662"/>
                    <a:gd name="T4" fmla="*/ 57 w 5365"/>
                    <a:gd name="T5" fmla="*/ 1235 h 7662"/>
                    <a:gd name="T6" fmla="*/ 0 w 5365"/>
                    <a:gd name="T7" fmla="*/ 1233 h 7662"/>
                    <a:gd name="T8" fmla="*/ 1722 w 5365"/>
                    <a:gd name="T9" fmla="*/ 7662 h 7662"/>
                    <a:gd name="T10" fmla="*/ 3185 w 5365"/>
                    <a:gd name="T11" fmla="*/ 5834 h 7662"/>
                    <a:gd name="T12" fmla="*/ 5365 w 5365"/>
                    <a:gd name="T13" fmla="*/ 6686 h 7662"/>
                    <a:gd name="T14" fmla="*/ 3574 w 5365"/>
                    <a:gd name="T15" fmla="*/ 0 h 7662"/>
                    <a:gd name="T16" fmla="*/ 3234 w 5365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5" h="7662">
                      <a:moveTo>
                        <a:pt x="3234" y="384"/>
                      </a:moveTo>
                      <a:cubicBezTo>
                        <a:pt x="2776" y="649"/>
                        <a:pt x="2059" y="307"/>
                        <a:pt x="1547" y="444"/>
                      </a:cubicBezTo>
                      <a:cubicBezTo>
                        <a:pt x="1040" y="580"/>
                        <a:pt x="591" y="1235"/>
                        <a:pt x="57" y="1235"/>
                      </a:cubicBezTo>
                      <a:cubicBezTo>
                        <a:pt x="37" y="1235"/>
                        <a:pt x="18" y="1235"/>
                        <a:pt x="0" y="1233"/>
                      </a:cubicBezTo>
                      <a:lnTo>
                        <a:pt x="1722" y="7662"/>
                      </a:lnTo>
                      <a:lnTo>
                        <a:pt x="3185" y="5834"/>
                      </a:lnTo>
                      <a:lnTo>
                        <a:pt x="5365" y="6686"/>
                      </a:lnTo>
                      <a:lnTo>
                        <a:pt x="3574" y="0"/>
                      </a:lnTo>
                      <a:cubicBezTo>
                        <a:pt x="3485" y="162"/>
                        <a:pt x="3380" y="300"/>
                        <a:pt x="3234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07" name="Freeform 353"/>
                <p:cNvSpPr>
                  <a:spLocks/>
                </p:cNvSpPr>
                <p:nvPr/>
              </p:nvSpPr>
              <p:spPr bwMode="auto">
                <a:xfrm>
                  <a:off x="6076425" y="5434671"/>
                  <a:ext cx="865909" cy="1238035"/>
                </a:xfrm>
                <a:custGeom>
                  <a:avLst/>
                  <a:gdLst>
                    <a:gd name="T0" fmla="*/ 2131 w 5366"/>
                    <a:gd name="T1" fmla="*/ 384 h 7662"/>
                    <a:gd name="T2" fmla="*/ 3818 w 5366"/>
                    <a:gd name="T3" fmla="*/ 444 h 7662"/>
                    <a:gd name="T4" fmla="*/ 5308 w 5366"/>
                    <a:gd name="T5" fmla="*/ 1235 h 7662"/>
                    <a:gd name="T6" fmla="*/ 5366 w 5366"/>
                    <a:gd name="T7" fmla="*/ 1233 h 7662"/>
                    <a:gd name="T8" fmla="*/ 3643 w 5366"/>
                    <a:gd name="T9" fmla="*/ 7662 h 7662"/>
                    <a:gd name="T10" fmla="*/ 2180 w 5366"/>
                    <a:gd name="T11" fmla="*/ 5834 h 7662"/>
                    <a:gd name="T12" fmla="*/ 0 w 5366"/>
                    <a:gd name="T13" fmla="*/ 6686 h 7662"/>
                    <a:gd name="T14" fmla="*/ 1791 w 5366"/>
                    <a:gd name="T15" fmla="*/ 0 h 7662"/>
                    <a:gd name="T16" fmla="*/ 2131 w 5366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6" h="7662">
                      <a:moveTo>
                        <a:pt x="2131" y="384"/>
                      </a:moveTo>
                      <a:cubicBezTo>
                        <a:pt x="2589" y="649"/>
                        <a:pt x="3306" y="307"/>
                        <a:pt x="3818" y="444"/>
                      </a:cubicBezTo>
                      <a:cubicBezTo>
                        <a:pt x="4325" y="580"/>
                        <a:pt x="4774" y="1235"/>
                        <a:pt x="5308" y="1235"/>
                      </a:cubicBezTo>
                      <a:cubicBezTo>
                        <a:pt x="5328" y="1235"/>
                        <a:pt x="5347" y="1235"/>
                        <a:pt x="5366" y="1233"/>
                      </a:cubicBezTo>
                      <a:lnTo>
                        <a:pt x="3643" y="7662"/>
                      </a:lnTo>
                      <a:lnTo>
                        <a:pt x="2180" y="5834"/>
                      </a:lnTo>
                      <a:lnTo>
                        <a:pt x="0" y="6686"/>
                      </a:lnTo>
                      <a:lnTo>
                        <a:pt x="1791" y="0"/>
                      </a:lnTo>
                      <a:cubicBezTo>
                        <a:pt x="1880" y="162"/>
                        <a:pt x="1985" y="300"/>
                        <a:pt x="2131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602" name="TextBox 601"/>
            <p:cNvSpPr txBox="1"/>
            <p:nvPr/>
          </p:nvSpPr>
          <p:spPr>
            <a:xfrm>
              <a:off x="10930603" y="2261582"/>
              <a:ext cx="49885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$100</a:t>
              </a:r>
              <a:endParaRPr lang="en-US" sz="1200" dirty="0"/>
            </a:p>
          </p:txBody>
        </p:sp>
      </p:grpSp>
      <p:grpSp>
        <p:nvGrpSpPr>
          <p:cNvPr id="660" name="Group 659"/>
          <p:cNvGrpSpPr/>
          <p:nvPr/>
        </p:nvGrpSpPr>
        <p:grpSpPr>
          <a:xfrm>
            <a:off x="6348807" y="4521703"/>
            <a:ext cx="863547" cy="740074"/>
            <a:chOff x="10565911" y="2219026"/>
            <a:chExt cx="863547" cy="740074"/>
          </a:xfrm>
        </p:grpSpPr>
        <p:grpSp>
          <p:nvGrpSpPr>
            <p:cNvPr id="661" name="Group 660"/>
            <p:cNvGrpSpPr/>
            <p:nvPr/>
          </p:nvGrpSpPr>
          <p:grpSpPr>
            <a:xfrm>
              <a:off x="10565911" y="2219026"/>
              <a:ext cx="476656" cy="740074"/>
              <a:chOff x="7913883" y="3501752"/>
              <a:chExt cx="476656" cy="740074"/>
            </a:xfrm>
          </p:grpSpPr>
          <p:grpSp>
            <p:nvGrpSpPr>
              <p:cNvPr id="663" name="Document2"/>
              <p:cNvGrpSpPr>
                <a:grpSpLocks noChangeAspect="1"/>
              </p:cNvGrpSpPr>
              <p:nvPr>
                <p:custDataLst>
                  <p:tags r:id="rId22"/>
                </p:custDataLst>
              </p:nvPr>
            </p:nvGrpSpPr>
            <p:grpSpPr bwMode="auto">
              <a:xfrm>
                <a:off x="7913883" y="3501752"/>
                <a:ext cx="414049" cy="542925"/>
                <a:chOff x="176" y="141"/>
                <a:chExt cx="151" cy="198"/>
              </a:xfrm>
              <a:solidFill>
                <a:schemeClr val="accent1"/>
              </a:solidFill>
            </p:grpSpPr>
            <p:sp>
              <p:nvSpPr>
                <p:cNvPr id="668" name="Document2"/>
                <p:cNvSpPr>
                  <a:spLocks noEditPoints="1"/>
                </p:cNvSpPr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176" y="141"/>
                  <a:ext cx="151" cy="198"/>
                </a:xfrm>
                <a:custGeom>
                  <a:avLst/>
                  <a:gdLst>
                    <a:gd name="T0" fmla="*/ 388 w 401"/>
                    <a:gd name="T1" fmla="*/ 525 h 525"/>
                    <a:gd name="T2" fmla="*/ 13 w 401"/>
                    <a:gd name="T3" fmla="*/ 525 h 525"/>
                    <a:gd name="T4" fmla="*/ 0 w 401"/>
                    <a:gd name="T5" fmla="*/ 512 h 525"/>
                    <a:gd name="T6" fmla="*/ 0 w 401"/>
                    <a:gd name="T7" fmla="*/ 12 h 525"/>
                    <a:gd name="T8" fmla="*/ 13 w 401"/>
                    <a:gd name="T9" fmla="*/ 0 h 525"/>
                    <a:gd name="T10" fmla="*/ 388 w 401"/>
                    <a:gd name="T11" fmla="*/ 0 h 525"/>
                    <a:gd name="T12" fmla="*/ 401 w 401"/>
                    <a:gd name="T13" fmla="*/ 12 h 525"/>
                    <a:gd name="T14" fmla="*/ 401 w 401"/>
                    <a:gd name="T15" fmla="*/ 512 h 525"/>
                    <a:gd name="T16" fmla="*/ 388 w 401"/>
                    <a:gd name="T17" fmla="*/ 525 h 525"/>
                    <a:gd name="T18" fmla="*/ 25 w 401"/>
                    <a:gd name="T19" fmla="*/ 500 h 525"/>
                    <a:gd name="T20" fmla="*/ 376 w 401"/>
                    <a:gd name="T21" fmla="*/ 500 h 525"/>
                    <a:gd name="T22" fmla="*/ 376 w 401"/>
                    <a:gd name="T23" fmla="*/ 25 h 525"/>
                    <a:gd name="T24" fmla="*/ 25 w 401"/>
                    <a:gd name="T25" fmla="*/ 25 h 525"/>
                    <a:gd name="T26" fmla="*/ 25 w 401"/>
                    <a:gd name="T27" fmla="*/ 500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1" h="525">
                      <a:moveTo>
                        <a:pt x="388" y="525"/>
                      </a:moveTo>
                      <a:lnTo>
                        <a:pt x="13" y="525"/>
                      </a:lnTo>
                      <a:cubicBezTo>
                        <a:pt x="5" y="525"/>
                        <a:pt x="0" y="520"/>
                        <a:pt x="0" y="512"/>
                      </a:cubicBezTo>
                      <a:lnTo>
                        <a:pt x="0" y="12"/>
                      </a:lnTo>
                      <a:cubicBezTo>
                        <a:pt x="0" y="5"/>
                        <a:pt x="5" y="0"/>
                        <a:pt x="13" y="0"/>
                      </a:cubicBezTo>
                      <a:lnTo>
                        <a:pt x="388" y="0"/>
                      </a:lnTo>
                      <a:cubicBezTo>
                        <a:pt x="395" y="0"/>
                        <a:pt x="401" y="5"/>
                        <a:pt x="401" y="12"/>
                      </a:cubicBezTo>
                      <a:lnTo>
                        <a:pt x="401" y="512"/>
                      </a:lnTo>
                      <a:cubicBezTo>
                        <a:pt x="401" y="520"/>
                        <a:pt x="394" y="525"/>
                        <a:pt x="388" y="525"/>
                      </a:cubicBezTo>
                      <a:close/>
                      <a:moveTo>
                        <a:pt x="25" y="500"/>
                      </a:moveTo>
                      <a:lnTo>
                        <a:pt x="376" y="500"/>
                      </a:lnTo>
                      <a:lnTo>
                        <a:pt x="376" y="25"/>
                      </a:lnTo>
                      <a:lnTo>
                        <a:pt x="25" y="25"/>
                      </a:lnTo>
                      <a:lnTo>
                        <a:pt x="25" y="50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69" name="Document2"/>
                <p:cNvSpPr>
                  <a:spLocks noChangeArrowheads="1"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205" y="239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0" name="Document2"/>
                <p:cNvSpPr>
                  <a:spLocks noChangeArrowheads="1"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205" y="267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1" name="Document2"/>
                <p:cNvSpPr>
                  <a:spLocks noChangeArrowheads="1"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205" y="295"/>
                  <a:ext cx="94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2" name="Document2"/>
                <p:cNvSpPr>
                  <a:spLocks noChangeArrowheads="1"/>
                </p:cNvSpPr>
                <p:nvPr>
                  <p:custDataLst>
                    <p:tags r:id="rId28"/>
                  </p:custDataLst>
                </p:nvPr>
              </p:nvSpPr>
              <p:spPr bwMode="auto">
                <a:xfrm>
                  <a:off x="252" y="182"/>
                  <a:ext cx="47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3" name="Document2"/>
                <p:cNvSpPr>
                  <a:spLocks noChangeArrowheads="1"/>
                </p:cNvSpPr>
                <p:nvPr>
                  <p:custDataLst>
                    <p:tags r:id="rId29"/>
                  </p:custDataLst>
                </p:nvPr>
              </p:nvSpPr>
              <p:spPr bwMode="auto">
                <a:xfrm>
                  <a:off x="252" y="211"/>
                  <a:ext cx="47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4" name="Document2"/>
                <p:cNvSpPr>
                  <a:spLocks/>
                </p:cNvSpPr>
                <p:nvPr>
                  <p:custDataLst>
                    <p:tags r:id="rId30"/>
                  </p:custDataLst>
                </p:nvPr>
              </p:nvSpPr>
              <p:spPr bwMode="auto">
                <a:xfrm>
                  <a:off x="206" y="182"/>
                  <a:ext cx="36" cy="37"/>
                </a:xfrm>
                <a:custGeom>
                  <a:avLst/>
                  <a:gdLst>
                    <a:gd name="T0" fmla="*/ 49 w 98"/>
                    <a:gd name="T1" fmla="*/ 97 h 97"/>
                    <a:gd name="T2" fmla="*/ 49 w 98"/>
                    <a:gd name="T3" fmla="*/ 97 h 97"/>
                    <a:gd name="T4" fmla="*/ 0 w 98"/>
                    <a:gd name="T5" fmla="*/ 48 h 97"/>
                    <a:gd name="T6" fmla="*/ 0 w 98"/>
                    <a:gd name="T7" fmla="*/ 48 h 97"/>
                    <a:gd name="T8" fmla="*/ 49 w 98"/>
                    <a:gd name="T9" fmla="*/ 0 h 97"/>
                    <a:gd name="T10" fmla="*/ 49 w 98"/>
                    <a:gd name="T11" fmla="*/ 0 h 97"/>
                    <a:gd name="T12" fmla="*/ 98 w 98"/>
                    <a:gd name="T13" fmla="*/ 48 h 97"/>
                    <a:gd name="T14" fmla="*/ 98 w 98"/>
                    <a:gd name="T15" fmla="*/ 48 h 97"/>
                    <a:gd name="T16" fmla="*/ 49 w 98"/>
                    <a:gd name="T17" fmla="*/ 97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8" h="97">
                      <a:moveTo>
                        <a:pt x="49" y="97"/>
                      </a:moveTo>
                      <a:lnTo>
                        <a:pt x="49" y="97"/>
                      </a:lnTo>
                      <a:cubicBezTo>
                        <a:pt x="22" y="97"/>
                        <a:pt x="0" y="75"/>
                        <a:pt x="0" y="48"/>
                      </a:cubicBezTo>
                      <a:lnTo>
                        <a:pt x="0" y="48"/>
                      </a:lnTo>
                      <a:cubicBezTo>
                        <a:pt x="0" y="21"/>
                        <a:pt x="23" y="0"/>
                        <a:pt x="49" y="0"/>
                      </a:cubicBezTo>
                      <a:lnTo>
                        <a:pt x="49" y="0"/>
                      </a:lnTo>
                      <a:cubicBezTo>
                        <a:pt x="77" y="0"/>
                        <a:pt x="98" y="22"/>
                        <a:pt x="98" y="48"/>
                      </a:cubicBezTo>
                      <a:lnTo>
                        <a:pt x="98" y="48"/>
                      </a:lnTo>
                      <a:cubicBezTo>
                        <a:pt x="98" y="76"/>
                        <a:pt x="77" y="97"/>
                        <a:pt x="49" y="97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664" name="Award"/>
              <p:cNvGrpSpPr>
                <a:grpSpLocks noChangeAspect="1"/>
              </p:cNvGrpSpPr>
              <p:nvPr>
                <p:custDataLst>
                  <p:tags r:id="rId23"/>
                </p:custDataLst>
              </p:nvPr>
            </p:nvGrpSpPr>
            <p:grpSpPr>
              <a:xfrm>
                <a:off x="8124621" y="3822850"/>
                <a:ext cx="265918" cy="418976"/>
                <a:chOff x="5941649" y="3440456"/>
                <a:chExt cx="2051465" cy="3232250"/>
              </a:xfrm>
              <a:solidFill>
                <a:schemeClr val="accent1"/>
              </a:solidFill>
            </p:grpSpPr>
            <p:sp>
              <p:nvSpPr>
                <p:cNvPr id="665" name="Freeform: Shape 683"/>
                <p:cNvSpPr>
                  <a:spLocks/>
                </p:cNvSpPr>
                <p:nvPr/>
              </p:nvSpPr>
              <p:spPr bwMode="auto">
                <a:xfrm>
                  <a:off x="5941649" y="3440456"/>
                  <a:ext cx="2051465" cy="2053850"/>
                </a:xfrm>
                <a:custGeom>
                  <a:avLst/>
                  <a:gdLst>
                    <a:gd name="connsiteX0" fmla="*/ 999938 w 2051465"/>
                    <a:gd name="connsiteY0" fmla="*/ 1647136 h 2053850"/>
                    <a:gd name="connsiteX1" fmla="*/ 1004820 w 2051465"/>
                    <a:gd name="connsiteY1" fmla="*/ 1675527 h 2053850"/>
                    <a:gd name="connsiteX2" fmla="*/ 983988 w 2051465"/>
                    <a:gd name="connsiteY2" fmla="*/ 1695690 h 2053850"/>
                    <a:gd name="connsiteX3" fmla="*/ 1012795 w 2051465"/>
                    <a:gd name="connsiteY3" fmla="*/ 1699884 h 2053850"/>
                    <a:gd name="connsiteX4" fmla="*/ 1025815 w 2051465"/>
                    <a:gd name="connsiteY4" fmla="*/ 1725855 h 2053850"/>
                    <a:gd name="connsiteX5" fmla="*/ 1038672 w 2051465"/>
                    <a:gd name="connsiteY5" fmla="*/ 1699884 h 2053850"/>
                    <a:gd name="connsiteX6" fmla="*/ 1067478 w 2051465"/>
                    <a:gd name="connsiteY6" fmla="*/ 1695690 h 2053850"/>
                    <a:gd name="connsiteX7" fmla="*/ 1046646 w 2051465"/>
                    <a:gd name="connsiteY7" fmla="*/ 1675527 h 2053850"/>
                    <a:gd name="connsiteX8" fmla="*/ 1051529 w 2051465"/>
                    <a:gd name="connsiteY8" fmla="*/ 1647136 h 2053850"/>
                    <a:gd name="connsiteX9" fmla="*/ 1025815 w 2051465"/>
                    <a:gd name="connsiteY9" fmla="*/ 1660525 h 2053850"/>
                    <a:gd name="connsiteX10" fmla="*/ 1158095 w 2051465"/>
                    <a:gd name="connsiteY10" fmla="*/ 1634016 h 2053850"/>
                    <a:gd name="connsiteX11" fmla="*/ 1135334 w 2051465"/>
                    <a:gd name="connsiteY11" fmla="*/ 1651418 h 2053850"/>
                    <a:gd name="connsiteX12" fmla="*/ 1108086 w 2051465"/>
                    <a:gd name="connsiteY12" fmla="*/ 1642797 h 2053850"/>
                    <a:gd name="connsiteX13" fmla="*/ 1117703 w 2051465"/>
                    <a:gd name="connsiteY13" fmla="*/ 1669779 h 2053850"/>
                    <a:gd name="connsiteX14" fmla="*/ 1100873 w 2051465"/>
                    <a:gd name="connsiteY14" fmla="*/ 1692928 h 2053850"/>
                    <a:gd name="connsiteX15" fmla="*/ 1129724 w 2051465"/>
                    <a:gd name="connsiteY15" fmla="*/ 1692130 h 2053850"/>
                    <a:gd name="connsiteX16" fmla="*/ 1146715 w 2051465"/>
                    <a:gd name="connsiteY16" fmla="*/ 1715120 h 2053850"/>
                    <a:gd name="connsiteX17" fmla="*/ 1154729 w 2051465"/>
                    <a:gd name="connsiteY17" fmla="*/ 1687660 h 2053850"/>
                    <a:gd name="connsiteX18" fmla="*/ 1181977 w 2051465"/>
                    <a:gd name="connsiteY18" fmla="*/ 1678719 h 2053850"/>
                    <a:gd name="connsiteX19" fmla="*/ 1158255 w 2051465"/>
                    <a:gd name="connsiteY19" fmla="*/ 1662594 h 2053850"/>
                    <a:gd name="connsiteX20" fmla="*/ 892528 w 2051465"/>
                    <a:gd name="connsiteY20" fmla="*/ 1634016 h 2053850"/>
                    <a:gd name="connsiteX21" fmla="*/ 892365 w 2051465"/>
                    <a:gd name="connsiteY21" fmla="*/ 1662594 h 2053850"/>
                    <a:gd name="connsiteX22" fmla="*/ 868294 w 2051465"/>
                    <a:gd name="connsiteY22" fmla="*/ 1678719 h 2053850"/>
                    <a:gd name="connsiteX23" fmla="*/ 895943 w 2051465"/>
                    <a:gd name="connsiteY23" fmla="*/ 1687660 h 2053850"/>
                    <a:gd name="connsiteX24" fmla="*/ 904076 w 2051465"/>
                    <a:gd name="connsiteY24" fmla="*/ 1715120 h 2053850"/>
                    <a:gd name="connsiteX25" fmla="*/ 921316 w 2051465"/>
                    <a:gd name="connsiteY25" fmla="*/ 1692130 h 2053850"/>
                    <a:gd name="connsiteX26" fmla="*/ 950591 w 2051465"/>
                    <a:gd name="connsiteY26" fmla="*/ 1692928 h 2053850"/>
                    <a:gd name="connsiteX27" fmla="*/ 933514 w 2051465"/>
                    <a:gd name="connsiteY27" fmla="*/ 1669779 h 2053850"/>
                    <a:gd name="connsiteX28" fmla="*/ 943272 w 2051465"/>
                    <a:gd name="connsiteY28" fmla="*/ 1642797 h 2053850"/>
                    <a:gd name="connsiteX29" fmla="*/ 915623 w 2051465"/>
                    <a:gd name="connsiteY29" fmla="*/ 1651418 h 2053850"/>
                    <a:gd name="connsiteX30" fmla="*/ 1261194 w 2051465"/>
                    <a:gd name="connsiteY30" fmla="*/ 1600620 h 2053850"/>
                    <a:gd name="connsiteX31" fmla="*/ 1241782 w 2051465"/>
                    <a:gd name="connsiteY31" fmla="*/ 1622103 h 2053850"/>
                    <a:gd name="connsiteX32" fmla="*/ 1212988 w 2051465"/>
                    <a:gd name="connsiteY32" fmla="*/ 1618197 h 2053850"/>
                    <a:gd name="connsiteX33" fmla="*/ 1227385 w 2051465"/>
                    <a:gd name="connsiteY33" fmla="*/ 1643586 h 2053850"/>
                    <a:gd name="connsiteX34" fmla="*/ 1214768 w 2051465"/>
                    <a:gd name="connsiteY34" fmla="*/ 1669951 h 2053850"/>
                    <a:gd name="connsiteX35" fmla="*/ 1243238 w 2051465"/>
                    <a:gd name="connsiteY35" fmla="*/ 1663929 h 2053850"/>
                    <a:gd name="connsiteX36" fmla="*/ 1264106 w 2051465"/>
                    <a:gd name="connsiteY36" fmla="*/ 1684110 h 2053850"/>
                    <a:gd name="connsiteX37" fmla="*/ 1267341 w 2051465"/>
                    <a:gd name="connsiteY37" fmla="*/ 1655141 h 2053850"/>
                    <a:gd name="connsiteX38" fmla="*/ 1292900 w 2051465"/>
                    <a:gd name="connsiteY38" fmla="*/ 1641307 h 2053850"/>
                    <a:gd name="connsiteX39" fmla="*/ 1266371 w 2051465"/>
                    <a:gd name="connsiteY39" fmla="*/ 1629264 h 2053850"/>
                    <a:gd name="connsiteX40" fmla="*/ 789798 w 2051465"/>
                    <a:gd name="connsiteY40" fmla="*/ 1600620 h 2053850"/>
                    <a:gd name="connsiteX41" fmla="*/ 784699 w 2051465"/>
                    <a:gd name="connsiteY41" fmla="*/ 1629264 h 2053850"/>
                    <a:gd name="connsiteX42" fmla="*/ 758565 w 2051465"/>
                    <a:gd name="connsiteY42" fmla="*/ 1641307 h 2053850"/>
                    <a:gd name="connsiteX43" fmla="*/ 783743 w 2051465"/>
                    <a:gd name="connsiteY43" fmla="*/ 1655141 h 2053850"/>
                    <a:gd name="connsiteX44" fmla="*/ 786930 w 2051465"/>
                    <a:gd name="connsiteY44" fmla="*/ 1684110 h 2053850"/>
                    <a:gd name="connsiteX45" fmla="*/ 807486 w 2051465"/>
                    <a:gd name="connsiteY45" fmla="*/ 1663929 h 2053850"/>
                    <a:gd name="connsiteX46" fmla="*/ 835531 w 2051465"/>
                    <a:gd name="connsiteY46" fmla="*/ 1669951 h 2053850"/>
                    <a:gd name="connsiteX47" fmla="*/ 823102 w 2051465"/>
                    <a:gd name="connsiteY47" fmla="*/ 1643586 h 2053850"/>
                    <a:gd name="connsiteX48" fmla="*/ 837284 w 2051465"/>
                    <a:gd name="connsiteY48" fmla="*/ 1618197 h 2053850"/>
                    <a:gd name="connsiteX49" fmla="*/ 808920 w 2051465"/>
                    <a:gd name="connsiteY49" fmla="*/ 1622103 h 2053850"/>
                    <a:gd name="connsiteX50" fmla="*/ 1357465 w 2051465"/>
                    <a:gd name="connsiteY50" fmla="*/ 1551719 h 2053850"/>
                    <a:gd name="connsiteX51" fmla="*/ 1342004 w 2051465"/>
                    <a:gd name="connsiteY51" fmla="*/ 1576277 h 2053850"/>
                    <a:gd name="connsiteX52" fmla="*/ 1313176 w 2051465"/>
                    <a:gd name="connsiteY52" fmla="*/ 1577408 h 2053850"/>
                    <a:gd name="connsiteX53" fmla="*/ 1331697 w 2051465"/>
                    <a:gd name="connsiteY53" fmla="*/ 1599703 h 2053850"/>
                    <a:gd name="connsiteX54" fmla="*/ 1323806 w 2051465"/>
                    <a:gd name="connsiteY54" fmla="*/ 1627492 h 2053850"/>
                    <a:gd name="connsiteX55" fmla="*/ 1350701 w 2051465"/>
                    <a:gd name="connsiteY55" fmla="*/ 1616829 h 2053850"/>
                    <a:gd name="connsiteX56" fmla="*/ 1374698 w 2051465"/>
                    <a:gd name="connsiteY56" fmla="*/ 1632823 h 2053850"/>
                    <a:gd name="connsiteX57" fmla="*/ 1372765 w 2051465"/>
                    <a:gd name="connsiteY57" fmla="*/ 1603904 h 2053850"/>
                    <a:gd name="connsiteX58" fmla="*/ 1395473 w 2051465"/>
                    <a:gd name="connsiteY58" fmla="*/ 1585970 h 2053850"/>
                    <a:gd name="connsiteX59" fmla="*/ 1367450 w 2051465"/>
                    <a:gd name="connsiteY59" fmla="*/ 1578862 h 2053850"/>
                    <a:gd name="connsiteX60" fmla="*/ 694000 w 2051465"/>
                    <a:gd name="connsiteY60" fmla="*/ 1551719 h 2053850"/>
                    <a:gd name="connsiteX61" fmla="*/ 684015 w 2051465"/>
                    <a:gd name="connsiteY61" fmla="*/ 1578862 h 2053850"/>
                    <a:gd name="connsiteX62" fmla="*/ 655992 w 2051465"/>
                    <a:gd name="connsiteY62" fmla="*/ 1585970 h 2053850"/>
                    <a:gd name="connsiteX63" fmla="*/ 678700 w 2051465"/>
                    <a:gd name="connsiteY63" fmla="*/ 1603904 h 2053850"/>
                    <a:gd name="connsiteX64" fmla="*/ 676768 w 2051465"/>
                    <a:gd name="connsiteY64" fmla="*/ 1632823 h 2053850"/>
                    <a:gd name="connsiteX65" fmla="*/ 700764 w 2051465"/>
                    <a:gd name="connsiteY65" fmla="*/ 1616829 h 2053850"/>
                    <a:gd name="connsiteX66" fmla="*/ 727660 w 2051465"/>
                    <a:gd name="connsiteY66" fmla="*/ 1627492 h 2053850"/>
                    <a:gd name="connsiteX67" fmla="*/ 719768 w 2051465"/>
                    <a:gd name="connsiteY67" fmla="*/ 1599703 h 2053850"/>
                    <a:gd name="connsiteX68" fmla="*/ 738289 w 2051465"/>
                    <a:gd name="connsiteY68" fmla="*/ 1577408 h 2053850"/>
                    <a:gd name="connsiteX69" fmla="*/ 709461 w 2051465"/>
                    <a:gd name="connsiteY69" fmla="*/ 1576277 h 2053850"/>
                    <a:gd name="connsiteX70" fmla="*/ 1442881 w 2051465"/>
                    <a:gd name="connsiteY70" fmla="*/ 1486119 h 2053850"/>
                    <a:gd name="connsiteX71" fmla="*/ 1431951 w 2051465"/>
                    <a:gd name="connsiteY71" fmla="*/ 1512757 h 2053850"/>
                    <a:gd name="connsiteX72" fmla="*/ 1403822 w 2051465"/>
                    <a:gd name="connsiteY72" fmla="*/ 1518854 h 2053850"/>
                    <a:gd name="connsiteX73" fmla="*/ 1425843 w 2051465"/>
                    <a:gd name="connsiteY73" fmla="*/ 1537468 h 2053850"/>
                    <a:gd name="connsiteX74" fmla="*/ 1422950 w 2051465"/>
                    <a:gd name="connsiteY74" fmla="*/ 1566031 h 2053850"/>
                    <a:gd name="connsiteX75" fmla="*/ 1447382 w 2051465"/>
                    <a:gd name="connsiteY75" fmla="*/ 1550947 h 2053850"/>
                    <a:gd name="connsiteX76" fmla="*/ 1473743 w 2051465"/>
                    <a:gd name="connsiteY76" fmla="*/ 1562501 h 2053850"/>
                    <a:gd name="connsiteX77" fmla="*/ 1466992 w 2051465"/>
                    <a:gd name="connsiteY77" fmla="*/ 1534580 h 2053850"/>
                    <a:gd name="connsiteX78" fmla="*/ 1486119 w 2051465"/>
                    <a:gd name="connsiteY78" fmla="*/ 1513078 h 2053850"/>
                    <a:gd name="connsiteX79" fmla="*/ 1457347 w 2051465"/>
                    <a:gd name="connsiteY79" fmla="*/ 1510831 h 2053850"/>
                    <a:gd name="connsiteX80" fmla="*/ 607391 w 2051465"/>
                    <a:gd name="connsiteY80" fmla="*/ 1486119 h 2053850"/>
                    <a:gd name="connsiteX81" fmla="*/ 592925 w 2051465"/>
                    <a:gd name="connsiteY81" fmla="*/ 1510831 h 2053850"/>
                    <a:gd name="connsiteX82" fmla="*/ 564153 w 2051465"/>
                    <a:gd name="connsiteY82" fmla="*/ 1513078 h 2053850"/>
                    <a:gd name="connsiteX83" fmla="*/ 583281 w 2051465"/>
                    <a:gd name="connsiteY83" fmla="*/ 1534580 h 2053850"/>
                    <a:gd name="connsiteX84" fmla="*/ 576530 w 2051465"/>
                    <a:gd name="connsiteY84" fmla="*/ 1562501 h 2053850"/>
                    <a:gd name="connsiteX85" fmla="*/ 602891 w 2051465"/>
                    <a:gd name="connsiteY85" fmla="*/ 1550947 h 2053850"/>
                    <a:gd name="connsiteX86" fmla="*/ 627323 w 2051465"/>
                    <a:gd name="connsiteY86" fmla="*/ 1566031 h 2053850"/>
                    <a:gd name="connsiteX87" fmla="*/ 624429 w 2051465"/>
                    <a:gd name="connsiteY87" fmla="*/ 1537468 h 2053850"/>
                    <a:gd name="connsiteX88" fmla="*/ 646450 w 2051465"/>
                    <a:gd name="connsiteY88" fmla="*/ 1518854 h 2053850"/>
                    <a:gd name="connsiteX89" fmla="*/ 618321 w 2051465"/>
                    <a:gd name="connsiteY89" fmla="*/ 1512757 h 2053850"/>
                    <a:gd name="connsiteX90" fmla="*/ 1516404 w 2051465"/>
                    <a:gd name="connsiteY90" fmla="*/ 1406208 h 2053850"/>
                    <a:gd name="connsiteX91" fmla="*/ 1510318 w 2051465"/>
                    <a:gd name="connsiteY91" fmla="*/ 1434337 h 2053850"/>
                    <a:gd name="connsiteX92" fmla="*/ 1483734 w 2051465"/>
                    <a:gd name="connsiteY92" fmla="*/ 1445267 h 2053850"/>
                    <a:gd name="connsiteX93" fmla="*/ 1508557 w 2051465"/>
                    <a:gd name="connsiteY93" fmla="*/ 1459894 h 2053850"/>
                    <a:gd name="connsiteX94" fmla="*/ 1510799 w 2051465"/>
                    <a:gd name="connsiteY94" fmla="*/ 1488505 h 2053850"/>
                    <a:gd name="connsiteX95" fmla="*/ 1532098 w 2051465"/>
                    <a:gd name="connsiteY95" fmla="*/ 1469378 h 2053850"/>
                    <a:gd name="connsiteX96" fmla="*/ 1560123 w 2051465"/>
                    <a:gd name="connsiteY96" fmla="*/ 1476289 h 2053850"/>
                    <a:gd name="connsiteX97" fmla="*/ 1548593 w 2051465"/>
                    <a:gd name="connsiteY97" fmla="*/ 1449768 h 2053850"/>
                    <a:gd name="connsiteX98" fmla="*/ 1563646 w 2051465"/>
                    <a:gd name="connsiteY98" fmla="*/ 1425336 h 2053850"/>
                    <a:gd name="connsiteX99" fmla="*/ 1534980 w 2051465"/>
                    <a:gd name="connsiteY99" fmla="*/ 1428229 h 2053850"/>
                    <a:gd name="connsiteX100" fmla="*/ 534575 w 2051465"/>
                    <a:gd name="connsiteY100" fmla="*/ 1406208 h 2053850"/>
                    <a:gd name="connsiteX101" fmla="*/ 515721 w 2051465"/>
                    <a:gd name="connsiteY101" fmla="*/ 1428229 h 2053850"/>
                    <a:gd name="connsiteX102" fmla="*/ 486627 w 2051465"/>
                    <a:gd name="connsiteY102" fmla="*/ 1425336 h 2053850"/>
                    <a:gd name="connsiteX103" fmla="*/ 502068 w 2051465"/>
                    <a:gd name="connsiteY103" fmla="*/ 1449768 h 2053850"/>
                    <a:gd name="connsiteX104" fmla="*/ 490203 w 2051465"/>
                    <a:gd name="connsiteY104" fmla="*/ 1476289 h 2053850"/>
                    <a:gd name="connsiteX105" fmla="*/ 518646 w 2051465"/>
                    <a:gd name="connsiteY105" fmla="*/ 1469378 h 2053850"/>
                    <a:gd name="connsiteX106" fmla="*/ 540263 w 2051465"/>
                    <a:gd name="connsiteY106" fmla="*/ 1488505 h 2053850"/>
                    <a:gd name="connsiteX107" fmla="*/ 542539 w 2051465"/>
                    <a:gd name="connsiteY107" fmla="*/ 1459894 h 2053850"/>
                    <a:gd name="connsiteX108" fmla="*/ 567731 w 2051465"/>
                    <a:gd name="connsiteY108" fmla="*/ 1445267 h 2053850"/>
                    <a:gd name="connsiteX109" fmla="*/ 540751 w 2051465"/>
                    <a:gd name="connsiteY109" fmla="*/ 1434337 h 2053850"/>
                    <a:gd name="connsiteX110" fmla="*/ 1575022 w 2051465"/>
                    <a:gd name="connsiteY110" fmla="*/ 1315562 h 2053850"/>
                    <a:gd name="connsiteX111" fmla="*/ 1573729 w 2051465"/>
                    <a:gd name="connsiteY111" fmla="*/ 1344390 h 2053850"/>
                    <a:gd name="connsiteX112" fmla="*/ 1549333 w 2051465"/>
                    <a:gd name="connsiteY112" fmla="*/ 1359851 h 2053850"/>
                    <a:gd name="connsiteX113" fmla="*/ 1576476 w 2051465"/>
                    <a:gd name="connsiteY113" fmla="*/ 1369836 h 2053850"/>
                    <a:gd name="connsiteX114" fmla="*/ 1583584 w 2051465"/>
                    <a:gd name="connsiteY114" fmla="*/ 1397859 h 2053850"/>
                    <a:gd name="connsiteX115" fmla="*/ 1601518 w 2051465"/>
                    <a:gd name="connsiteY115" fmla="*/ 1375151 h 2053850"/>
                    <a:gd name="connsiteX116" fmla="*/ 1630437 w 2051465"/>
                    <a:gd name="connsiteY116" fmla="*/ 1377084 h 2053850"/>
                    <a:gd name="connsiteX117" fmla="*/ 1614443 w 2051465"/>
                    <a:gd name="connsiteY117" fmla="*/ 1353087 h 2053850"/>
                    <a:gd name="connsiteX118" fmla="*/ 1625106 w 2051465"/>
                    <a:gd name="connsiteY118" fmla="*/ 1326192 h 2053850"/>
                    <a:gd name="connsiteX119" fmla="*/ 1597156 w 2051465"/>
                    <a:gd name="connsiteY119" fmla="*/ 1334083 h 2053850"/>
                    <a:gd name="connsiteX120" fmla="*/ 476443 w 2051465"/>
                    <a:gd name="connsiteY120" fmla="*/ 1315562 h 2053850"/>
                    <a:gd name="connsiteX121" fmla="*/ 454309 w 2051465"/>
                    <a:gd name="connsiteY121" fmla="*/ 1334083 h 2053850"/>
                    <a:gd name="connsiteX122" fmla="*/ 426359 w 2051465"/>
                    <a:gd name="connsiteY122" fmla="*/ 1326192 h 2053850"/>
                    <a:gd name="connsiteX123" fmla="*/ 437022 w 2051465"/>
                    <a:gd name="connsiteY123" fmla="*/ 1353087 h 2053850"/>
                    <a:gd name="connsiteX124" fmla="*/ 421027 w 2051465"/>
                    <a:gd name="connsiteY124" fmla="*/ 1377084 h 2053850"/>
                    <a:gd name="connsiteX125" fmla="*/ 449947 w 2051465"/>
                    <a:gd name="connsiteY125" fmla="*/ 1375151 h 2053850"/>
                    <a:gd name="connsiteX126" fmla="*/ 467880 w 2051465"/>
                    <a:gd name="connsiteY126" fmla="*/ 1397859 h 2053850"/>
                    <a:gd name="connsiteX127" fmla="*/ 474989 w 2051465"/>
                    <a:gd name="connsiteY127" fmla="*/ 1369836 h 2053850"/>
                    <a:gd name="connsiteX128" fmla="*/ 502131 w 2051465"/>
                    <a:gd name="connsiteY128" fmla="*/ 1359851 h 2053850"/>
                    <a:gd name="connsiteX129" fmla="*/ 477735 w 2051465"/>
                    <a:gd name="connsiteY129" fmla="*/ 1344390 h 2053850"/>
                    <a:gd name="connsiteX130" fmla="*/ 1615811 w 2051465"/>
                    <a:gd name="connsiteY130" fmla="*/ 1215374 h 2053850"/>
                    <a:gd name="connsiteX131" fmla="*/ 1619717 w 2051465"/>
                    <a:gd name="connsiteY131" fmla="*/ 1244168 h 2053850"/>
                    <a:gd name="connsiteX132" fmla="*/ 1598234 w 2051465"/>
                    <a:gd name="connsiteY132" fmla="*/ 1263580 h 2053850"/>
                    <a:gd name="connsiteX133" fmla="*/ 1626878 w 2051465"/>
                    <a:gd name="connsiteY133" fmla="*/ 1268757 h 2053850"/>
                    <a:gd name="connsiteX134" fmla="*/ 1638921 w 2051465"/>
                    <a:gd name="connsiteY134" fmla="*/ 1295286 h 2053850"/>
                    <a:gd name="connsiteX135" fmla="*/ 1652755 w 2051465"/>
                    <a:gd name="connsiteY135" fmla="*/ 1269727 h 2053850"/>
                    <a:gd name="connsiteX136" fmla="*/ 1681724 w 2051465"/>
                    <a:gd name="connsiteY136" fmla="*/ 1266492 h 2053850"/>
                    <a:gd name="connsiteX137" fmla="*/ 1661543 w 2051465"/>
                    <a:gd name="connsiteY137" fmla="*/ 1245624 h 2053850"/>
                    <a:gd name="connsiteX138" fmla="*/ 1667402 w 2051465"/>
                    <a:gd name="connsiteY138" fmla="*/ 1217154 h 2053850"/>
                    <a:gd name="connsiteX139" fmla="*/ 1641200 w 2051465"/>
                    <a:gd name="connsiteY139" fmla="*/ 1229771 h 2053850"/>
                    <a:gd name="connsiteX140" fmla="*/ 434713 w 2051465"/>
                    <a:gd name="connsiteY140" fmla="*/ 1215374 h 2053850"/>
                    <a:gd name="connsiteX141" fmla="*/ 409687 w 2051465"/>
                    <a:gd name="connsiteY141" fmla="*/ 1229771 h 2053850"/>
                    <a:gd name="connsiteX142" fmla="*/ 383858 w 2051465"/>
                    <a:gd name="connsiteY142" fmla="*/ 1217154 h 2053850"/>
                    <a:gd name="connsiteX143" fmla="*/ 389634 w 2051465"/>
                    <a:gd name="connsiteY143" fmla="*/ 1245624 h 2053850"/>
                    <a:gd name="connsiteX144" fmla="*/ 369741 w 2051465"/>
                    <a:gd name="connsiteY144" fmla="*/ 1266492 h 2053850"/>
                    <a:gd name="connsiteX145" fmla="*/ 398297 w 2051465"/>
                    <a:gd name="connsiteY145" fmla="*/ 1269727 h 2053850"/>
                    <a:gd name="connsiteX146" fmla="*/ 411932 w 2051465"/>
                    <a:gd name="connsiteY146" fmla="*/ 1295286 h 2053850"/>
                    <a:gd name="connsiteX147" fmla="*/ 423804 w 2051465"/>
                    <a:gd name="connsiteY147" fmla="*/ 1268757 h 2053850"/>
                    <a:gd name="connsiteX148" fmla="*/ 452038 w 2051465"/>
                    <a:gd name="connsiteY148" fmla="*/ 1263580 h 2053850"/>
                    <a:gd name="connsiteX149" fmla="*/ 430862 w 2051465"/>
                    <a:gd name="connsiteY149" fmla="*/ 1244168 h 2053850"/>
                    <a:gd name="connsiteX150" fmla="*/ 1690261 w 2051465"/>
                    <a:gd name="connsiteY150" fmla="*/ 1102066 h 2053850"/>
                    <a:gd name="connsiteX151" fmla="*/ 1666655 w 2051465"/>
                    <a:gd name="connsiteY151" fmla="*/ 1119015 h 2053850"/>
                    <a:gd name="connsiteX152" fmla="*/ 1639493 w 2051465"/>
                    <a:gd name="connsiteY152" fmla="*/ 1109237 h 2053850"/>
                    <a:gd name="connsiteX153" fmla="*/ 1648223 w 2051465"/>
                    <a:gd name="connsiteY153" fmla="*/ 1137104 h 2053850"/>
                    <a:gd name="connsiteX154" fmla="*/ 1630438 w 2051465"/>
                    <a:gd name="connsiteY154" fmla="*/ 1160082 h 2053850"/>
                    <a:gd name="connsiteX155" fmla="*/ 1659541 w 2051465"/>
                    <a:gd name="connsiteY155" fmla="*/ 1160245 h 2053850"/>
                    <a:gd name="connsiteX156" fmla="*/ 1675871 w 2051465"/>
                    <a:gd name="connsiteY156" fmla="*/ 1184363 h 2053850"/>
                    <a:gd name="connsiteX157" fmla="*/ 1684926 w 2051465"/>
                    <a:gd name="connsiteY157" fmla="*/ 1156659 h 2053850"/>
                    <a:gd name="connsiteX158" fmla="*/ 1712735 w 2051465"/>
                    <a:gd name="connsiteY158" fmla="*/ 1148511 h 2053850"/>
                    <a:gd name="connsiteX159" fmla="*/ 1689453 w 2051465"/>
                    <a:gd name="connsiteY159" fmla="*/ 1131237 h 2053850"/>
                    <a:gd name="connsiteX160" fmla="*/ 360012 w 2051465"/>
                    <a:gd name="connsiteY160" fmla="*/ 1102066 h 2053850"/>
                    <a:gd name="connsiteX161" fmla="*/ 360821 w 2051465"/>
                    <a:gd name="connsiteY161" fmla="*/ 1131237 h 2053850"/>
                    <a:gd name="connsiteX162" fmla="*/ 337538 w 2051465"/>
                    <a:gd name="connsiteY162" fmla="*/ 1148511 h 2053850"/>
                    <a:gd name="connsiteX163" fmla="*/ 365348 w 2051465"/>
                    <a:gd name="connsiteY163" fmla="*/ 1156659 h 2053850"/>
                    <a:gd name="connsiteX164" fmla="*/ 374402 w 2051465"/>
                    <a:gd name="connsiteY164" fmla="*/ 1184363 h 2053850"/>
                    <a:gd name="connsiteX165" fmla="*/ 390732 w 2051465"/>
                    <a:gd name="connsiteY165" fmla="*/ 1160245 h 2053850"/>
                    <a:gd name="connsiteX166" fmla="*/ 419835 w 2051465"/>
                    <a:gd name="connsiteY166" fmla="*/ 1160082 h 2053850"/>
                    <a:gd name="connsiteX167" fmla="*/ 402050 w 2051465"/>
                    <a:gd name="connsiteY167" fmla="*/ 1137104 h 2053850"/>
                    <a:gd name="connsiteX168" fmla="*/ 410781 w 2051465"/>
                    <a:gd name="connsiteY168" fmla="*/ 1109237 h 2053850"/>
                    <a:gd name="connsiteX169" fmla="*/ 383618 w 2051465"/>
                    <a:gd name="connsiteY169" fmla="*/ 1119015 h 2053850"/>
                    <a:gd name="connsiteX170" fmla="*/ 1693366 w 2051465"/>
                    <a:gd name="connsiteY170" fmla="*/ 985180 h 2053850"/>
                    <a:gd name="connsiteX171" fmla="*/ 1673244 w 2051465"/>
                    <a:gd name="connsiteY171" fmla="*/ 1006012 h 2053850"/>
                    <a:gd name="connsiteX172" fmla="*/ 1644750 w 2051465"/>
                    <a:gd name="connsiteY172" fmla="*/ 1001130 h 2053850"/>
                    <a:gd name="connsiteX173" fmla="*/ 1658273 w 2051465"/>
                    <a:gd name="connsiteY173" fmla="*/ 1027007 h 2053850"/>
                    <a:gd name="connsiteX174" fmla="*/ 1644750 w 2051465"/>
                    <a:gd name="connsiteY174" fmla="*/ 1052721 h 2053850"/>
                    <a:gd name="connsiteX175" fmla="*/ 1673244 w 2051465"/>
                    <a:gd name="connsiteY175" fmla="*/ 1047838 h 2053850"/>
                    <a:gd name="connsiteX176" fmla="*/ 1693366 w 2051465"/>
                    <a:gd name="connsiteY176" fmla="*/ 1068670 h 2053850"/>
                    <a:gd name="connsiteX177" fmla="*/ 1697552 w 2051465"/>
                    <a:gd name="connsiteY177" fmla="*/ 1039864 h 2053850"/>
                    <a:gd name="connsiteX178" fmla="*/ 1723469 w 2051465"/>
                    <a:gd name="connsiteY178" fmla="*/ 1027007 h 2053850"/>
                    <a:gd name="connsiteX179" fmla="*/ 1697552 w 2051465"/>
                    <a:gd name="connsiteY179" fmla="*/ 1013987 h 2053850"/>
                    <a:gd name="connsiteX180" fmla="*/ 357363 w 2051465"/>
                    <a:gd name="connsiteY180" fmla="*/ 985180 h 2053850"/>
                    <a:gd name="connsiteX181" fmla="*/ 353114 w 2051465"/>
                    <a:gd name="connsiteY181" fmla="*/ 1013987 h 2053850"/>
                    <a:gd name="connsiteX182" fmla="*/ 326803 w 2051465"/>
                    <a:gd name="connsiteY182" fmla="*/ 1027007 h 2053850"/>
                    <a:gd name="connsiteX183" fmla="*/ 353114 w 2051465"/>
                    <a:gd name="connsiteY183" fmla="*/ 1039864 h 2053850"/>
                    <a:gd name="connsiteX184" fmla="*/ 357363 w 2051465"/>
                    <a:gd name="connsiteY184" fmla="*/ 1068670 h 2053850"/>
                    <a:gd name="connsiteX185" fmla="*/ 377790 w 2051465"/>
                    <a:gd name="connsiteY185" fmla="*/ 1047838 h 2053850"/>
                    <a:gd name="connsiteX186" fmla="*/ 406715 w 2051465"/>
                    <a:gd name="connsiteY186" fmla="*/ 1052721 h 2053850"/>
                    <a:gd name="connsiteX187" fmla="*/ 392988 w 2051465"/>
                    <a:gd name="connsiteY187" fmla="*/ 1027007 h 2053850"/>
                    <a:gd name="connsiteX188" fmla="*/ 406715 w 2051465"/>
                    <a:gd name="connsiteY188" fmla="*/ 1001130 h 2053850"/>
                    <a:gd name="connsiteX189" fmla="*/ 377790 w 2051465"/>
                    <a:gd name="connsiteY189" fmla="*/ 1006012 h 2053850"/>
                    <a:gd name="connsiteX190" fmla="*/ 1675871 w 2051465"/>
                    <a:gd name="connsiteY190" fmla="*/ 869487 h 2053850"/>
                    <a:gd name="connsiteX191" fmla="*/ 1659541 w 2051465"/>
                    <a:gd name="connsiteY191" fmla="*/ 893558 h 2053850"/>
                    <a:gd name="connsiteX192" fmla="*/ 1630438 w 2051465"/>
                    <a:gd name="connsiteY192" fmla="*/ 893721 h 2053850"/>
                    <a:gd name="connsiteX193" fmla="*/ 1648223 w 2051465"/>
                    <a:gd name="connsiteY193" fmla="*/ 916816 h 2053850"/>
                    <a:gd name="connsiteX194" fmla="*/ 1639493 w 2051465"/>
                    <a:gd name="connsiteY194" fmla="*/ 944628 h 2053850"/>
                    <a:gd name="connsiteX195" fmla="*/ 1666655 w 2051465"/>
                    <a:gd name="connsiteY195" fmla="*/ 934707 h 2053850"/>
                    <a:gd name="connsiteX196" fmla="*/ 1690261 w 2051465"/>
                    <a:gd name="connsiteY196" fmla="*/ 951784 h 2053850"/>
                    <a:gd name="connsiteX197" fmla="*/ 1689453 w 2051465"/>
                    <a:gd name="connsiteY197" fmla="*/ 922509 h 2053850"/>
                    <a:gd name="connsiteX198" fmla="*/ 1712735 w 2051465"/>
                    <a:gd name="connsiteY198" fmla="*/ 905269 h 2053850"/>
                    <a:gd name="connsiteX199" fmla="*/ 1684926 w 2051465"/>
                    <a:gd name="connsiteY199" fmla="*/ 897136 h 2053850"/>
                    <a:gd name="connsiteX200" fmla="*/ 374402 w 2051465"/>
                    <a:gd name="connsiteY200" fmla="*/ 869487 h 2053850"/>
                    <a:gd name="connsiteX201" fmla="*/ 365348 w 2051465"/>
                    <a:gd name="connsiteY201" fmla="*/ 897136 h 2053850"/>
                    <a:gd name="connsiteX202" fmla="*/ 337538 w 2051465"/>
                    <a:gd name="connsiteY202" fmla="*/ 905269 h 2053850"/>
                    <a:gd name="connsiteX203" fmla="*/ 360821 w 2051465"/>
                    <a:gd name="connsiteY203" fmla="*/ 922509 h 2053850"/>
                    <a:gd name="connsiteX204" fmla="*/ 360012 w 2051465"/>
                    <a:gd name="connsiteY204" fmla="*/ 951784 h 2053850"/>
                    <a:gd name="connsiteX205" fmla="*/ 383618 w 2051465"/>
                    <a:gd name="connsiteY205" fmla="*/ 934707 h 2053850"/>
                    <a:gd name="connsiteX206" fmla="*/ 410781 w 2051465"/>
                    <a:gd name="connsiteY206" fmla="*/ 944628 h 2053850"/>
                    <a:gd name="connsiteX207" fmla="*/ 402050 w 2051465"/>
                    <a:gd name="connsiteY207" fmla="*/ 916816 h 2053850"/>
                    <a:gd name="connsiteX208" fmla="*/ 419835 w 2051465"/>
                    <a:gd name="connsiteY208" fmla="*/ 893721 h 2053850"/>
                    <a:gd name="connsiteX209" fmla="*/ 390732 w 2051465"/>
                    <a:gd name="connsiteY209" fmla="*/ 893558 h 2053850"/>
                    <a:gd name="connsiteX210" fmla="*/ 1638921 w 2051465"/>
                    <a:gd name="connsiteY210" fmla="*/ 759758 h 2053850"/>
                    <a:gd name="connsiteX211" fmla="*/ 1626878 w 2051465"/>
                    <a:gd name="connsiteY211" fmla="*/ 785892 h 2053850"/>
                    <a:gd name="connsiteX212" fmla="*/ 1598234 w 2051465"/>
                    <a:gd name="connsiteY212" fmla="*/ 790991 h 2053850"/>
                    <a:gd name="connsiteX213" fmla="*/ 1619717 w 2051465"/>
                    <a:gd name="connsiteY213" fmla="*/ 810272 h 2053850"/>
                    <a:gd name="connsiteX214" fmla="*/ 1615811 w 2051465"/>
                    <a:gd name="connsiteY214" fmla="*/ 838477 h 2053850"/>
                    <a:gd name="connsiteX215" fmla="*/ 1641200 w 2051465"/>
                    <a:gd name="connsiteY215" fmla="*/ 824295 h 2053850"/>
                    <a:gd name="connsiteX216" fmla="*/ 1667402 w 2051465"/>
                    <a:gd name="connsiteY216" fmla="*/ 836724 h 2053850"/>
                    <a:gd name="connsiteX217" fmla="*/ 1661543 w 2051465"/>
                    <a:gd name="connsiteY217" fmla="*/ 808838 h 2053850"/>
                    <a:gd name="connsiteX218" fmla="*/ 1681724 w 2051465"/>
                    <a:gd name="connsiteY218" fmla="*/ 788123 h 2053850"/>
                    <a:gd name="connsiteX219" fmla="*/ 1652755 w 2051465"/>
                    <a:gd name="connsiteY219" fmla="*/ 784936 h 2053850"/>
                    <a:gd name="connsiteX220" fmla="*/ 411932 w 2051465"/>
                    <a:gd name="connsiteY220" fmla="*/ 759758 h 2053850"/>
                    <a:gd name="connsiteX221" fmla="*/ 398297 w 2051465"/>
                    <a:gd name="connsiteY221" fmla="*/ 784936 h 2053850"/>
                    <a:gd name="connsiteX222" fmla="*/ 369741 w 2051465"/>
                    <a:gd name="connsiteY222" fmla="*/ 788123 h 2053850"/>
                    <a:gd name="connsiteX223" fmla="*/ 389634 w 2051465"/>
                    <a:gd name="connsiteY223" fmla="*/ 808838 h 2053850"/>
                    <a:gd name="connsiteX224" fmla="*/ 383858 w 2051465"/>
                    <a:gd name="connsiteY224" fmla="*/ 836724 h 2053850"/>
                    <a:gd name="connsiteX225" fmla="*/ 409687 w 2051465"/>
                    <a:gd name="connsiteY225" fmla="*/ 824295 h 2053850"/>
                    <a:gd name="connsiteX226" fmla="*/ 434713 w 2051465"/>
                    <a:gd name="connsiteY226" fmla="*/ 838477 h 2053850"/>
                    <a:gd name="connsiteX227" fmla="*/ 430862 w 2051465"/>
                    <a:gd name="connsiteY227" fmla="*/ 810272 h 2053850"/>
                    <a:gd name="connsiteX228" fmla="*/ 452038 w 2051465"/>
                    <a:gd name="connsiteY228" fmla="*/ 790991 h 2053850"/>
                    <a:gd name="connsiteX229" fmla="*/ 423804 w 2051465"/>
                    <a:gd name="connsiteY229" fmla="*/ 785892 h 2053850"/>
                    <a:gd name="connsiteX230" fmla="*/ 1583584 w 2051465"/>
                    <a:gd name="connsiteY230" fmla="*/ 655992 h 2053850"/>
                    <a:gd name="connsiteX231" fmla="*/ 1576476 w 2051465"/>
                    <a:gd name="connsiteY231" fmla="*/ 684421 h 2053850"/>
                    <a:gd name="connsiteX232" fmla="*/ 1549333 w 2051465"/>
                    <a:gd name="connsiteY232" fmla="*/ 694551 h 2053850"/>
                    <a:gd name="connsiteX233" fmla="*/ 1573729 w 2051465"/>
                    <a:gd name="connsiteY233" fmla="*/ 710236 h 2053850"/>
                    <a:gd name="connsiteX234" fmla="*/ 1575022 w 2051465"/>
                    <a:gd name="connsiteY234" fmla="*/ 739482 h 2053850"/>
                    <a:gd name="connsiteX235" fmla="*/ 1597156 w 2051465"/>
                    <a:gd name="connsiteY235" fmla="*/ 720856 h 2053850"/>
                    <a:gd name="connsiteX236" fmla="*/ 1625106 w 2051465"/>
                    <a:gd name="connsiteY236" fmla="*/ 728699 h 2053850"/>
                    <a:gd name="connsiteX237" fmla="*/ 1614443 w 2051465"/>
                    <a:gd name="connsiteY237" fmla="*/ 701577 h 2053850"/>
                    <a:gd name="connsiteX238" fmla="*/ 1630437 w 2051465"/>
                    <a:gd name="connsiteY238" fmla="*/ 677232 h 2053850"/>
                    <a:gd name="connsiteX239" fmla="*/ 1601518 w 2051465"/>
                    <a:gd name="connsiteY239" fmla="*/ 679029 h 2053850"/>
                    <a:gd name="connsiteX240" fmla="*/ 467880 w 2051465"/>
                    <a:gd name="connsiteY240" fmla="*/ 655992 h 2053850"/>
                    <a:gd name="connsiteX241" fmla="*/ 449947 w 2051465"/>
                    <a:gd name="connsiteY241" fmla="*/ 679029 h 2053850"/>
                    <a:gd name="connsiteX242" fmla="*/ 421027 w 2051465"/>
                    <a:gd name="connsiteY242" fmla="*/ 677232 h 2053850"/>
                    <a:gd name="connsiteX243" fmla="*/ 437022 w 2051465"/>
                    <a:gd name="connsiteY243" fmla="*/ 701577 h 2053850"/>
                    <a:gd name="connsiteX244" fmla="*/ 426359 w 2051465"/>
                    <a:gd name="connsiteY244" fmla="*/ 728699 h 2053850"/>
                    <a:gd name="connsiteX245" fmla="*/ 454309 w 2051465"/>
                    <a:gd name="connsiteY245" fmla="*/ 720856 h 2053850"/>
                    <a:gd name="connsiteX246" fmla="*/ 476443 w 2051465"/>
                    <a:gd name="connsiteY246" fmla="*/ 739482 h 2053850"/>
                    <a:gd name="connsiteX247" fmla="*/ 477735 w 2051465"/>
                    <a:gd name="connsiteY247" fmla="*/ 710236 h 2053850"/>
                    <a:gd name="connsiteX248" fmla="*/ 502131 w 2051465"/>
                    <a:gd name="connsiteY248" fmla="*/ 694551 h 2053850"/>
                    <a:gd name="connsiteX249" fmla="*/ 474989 w 2051465"/>
                    <a:gd name="connsiteY249" fmla="*/ 684421 h 2053850"/>
                    <a:gd name="connsiteX250" fmla="*/ 1510799 w 2051465"/>
                    <a:gd name="connsiteY250" fmla="*/ 565346 h 2053850"/>
                    <a:gd name="connsiteX251" fmla="*/ 1508557 w 2051465"/>
                    <a:gd name="connsiteY251" fmla="*/ 594118 h 2053850"/>
                    <a:gd name="connsiteX252" fmla="*/ 1483734 w 2051465"/>
                    <a:gd name="connsiteY252" fmla="*/ 608584 h 2053850"/>
                    <a:gd name="connsiteX253" fmla="*/ 1510318 w 2051465"/>
                    <a:gd name="connsiteY253" fmla="*/ 619514 h 2053850"/>
                    <a:gd name="connsiteX254" fmla="*/ 1516404 w 2051465"/>
                    <a:gd name="connsiteY254" fmla="*/ 647643 h 2053850"/>
                    <a:gd name="connsiteX255" fmla="*/ 1534980 w 2051465"/>
                    <a:gd name="connsiteY255" fmla="*/ 625783 h 2053850"/>
                    <a:gd name="connsiteX256" fmla="*/ 1563646 w 2051465"/>
                    <a:gd name="connsiteY256" fmla="*/ 628516 h 2053850"/>
                    <a:gd name="connsiteX257" fmla="*/ 1548593 w 2051465"/>
                    <a:gd name="connsiteY257" fmla="*/ 604084 h 2053850"/>
                    <a:gd name="connsiteX258" fmla="*/ 1560123 w 2051465"/>
                    <a:gd name="connsiteY258" fmla="*/ 577723 h 2053850"/>
                    <a:gd name="connsiteX259" fmla="*/ 1532098 w 2051465"/>
                    <a:gd name="connsiteY259" fmla="*/ 584474 h 2053850"/>
                    <a:gd name="connsiteX260" fmla="*/ 540263 w 2051465"/>
                    <a:gd name="connsiteY260" fmla="*/ 565346 h 2053850"/>
                    <a:gd name="connsiteX261" fmla="*/ 518646 w 2051465"/>
                    <a:gd name="connsiteY261" fmla="*/ 584474 h 2053850"/>
                    <a:gd name="connsiteX262" fmla="*/ 490203 w 2051465"/>
                    <a:gd name="connsiteY262" fmla="*/ 577723 h 2053850"/>
                    <a:gd name="connsiteX263" fmla="*/ 502068 w 2051465"/>
                    <a:gd name="connsiteY263" fmla="*/ 604084 h 2053850"/>
                    <a:gd name="connsiteX264" fmla="*/ 486627 w 2051465"/>
                    <a:gd name="connsiteY264" fmla="*/ 628516 h 2053850"/>
                    <a:gd name="connsiteX265" fmla="*/ 515721 w 2051465"/>
                    <a:gd name="connsiteY265" fmla="*/ 625783 h 2053850"/>
                    <a:gd name="connsiteX266" fmla="*/ 534575 w 2051465"/>
                    <a:gd name="connsiteY266" fmla="*/ 647643 h 2053850"/>
                    <a:gd name="connsiteX267" fmla="*/ 540751 w 2051465"/>
                    <a:gd name="connsiteY267" fmla="*/ 619514 h 2053850"/>
                    <a:gd name="connsiteX268" fmla="*/ 567731 w 2051465"/>
                    <a:gd name="connsiteY268" fmla="*/ 608584 h 2053850"/>
                    <a:gd name="connsiteX269" fmla="*/ 542539 w 2051465"/>
                    <a:gd name="connsiteY269" fmla="*/ 594118 h 2053850"/>
                    <a:gd name="connsiteX270" fmla="*/ 1422950 w 2051465"/>
                    <a:gd name="connsiteY270" fmla="*/ 487819 h 2053850"/>
                    <a:gd name="connsiteX271" fmla="*/ 1425843 w 2051465"/>
                    <a:gd name="connsiteY271" fmla="*/ 516913 h 2053850"/>
                    <a:gd name="connsiteX272" fmla="*/ 1403822 w 2051465"/>
                    <a:gd name="connsiteY272" fmla="*/ 535766 h 2053850"/>
                    <a:gd name="connsiteX273" fmla="*/ 1431951 w 2051465"/>
                    <a:gd name="connsiteY273" fmla="*/ 541943 h 2053850"/>
                    <a:gd name="connsiteX274" fmla="*/ 1442881 w 2051465"/>
                    <a:gd name="connsiteY274" fmla="*/ 568923 h 2053850"/>
                    <a:gd name="connsiteX275" fmla="*/ 1457347 w 2051465"/>
                    <a:gd name="connsiteY275" fmla="*/ 543731 h 2053850"/>
                    <a:gd name="connsiteX276" fmla="*/ 1486119 w 2051465"/>
                    <a:gd name="connsiteY276" fmla="*/ 541618 h 2053850"/>
                    <a:gd name="connsiteX277" fmla="*/ 1466992 w 2051465"/>
                    <a:gd name="connsiteY277" fmla="*/ 519838 h 2053850"/>
                    <a:gd name="connsiteX278" fmla="*/ 1473743 w 2051465"/>
                    <a:gd name="connsiteY278" fmla="*/ 491557 h 2053850"/>
                    <a:gd name="connsiteX279" fmla="*/ 1447382 w 2051465"/>
                    <a:gd name="connsiteY279" fmla="*/ 503260 h 2053850"/>
                    <a:gd name="connsiteX280" fmla="*/ 627323 w 2051465"/>
                    <a:gd name="connsiteY280" fmla="*/ 487819 h 2053850"/>
                    <a:gd name="connsiteX281" fmla="*/ 602891 w 2051465"/>
                    <a:gd name="connsiteY281" fmla="*/ 503260 h 2053850"/>
                    <a:gd name="connsiteX282" fmla="*/ 576530 w 2051465"/>
                    <a:gd name="connsiteY282" fmla="*/ 491557 h 2053850"/>
                    <a:gd name="connsiteX283" fmla="*/ 583281 w 2051465"/>
                    <a:gd name="connsiteY283" fmla="*/ 519838 h 2053850"/>
                    <a:gd name="connsiteX284" fmla="*/ 564153 w 2051465"/>
                    <a:gd name="connsiteY284" fmla="*/ 541618 h 2053850"/>
                    <a:gd name="connsiteX285" fmla="*/ 592925 w 2051465"/>
                    <a:gd name="connsiteY285" fmla="*/ 543731 h 2053850"/>
                    <a:gd name="connsiteX286" fmla="*/ 607391 w 2051465"/>
                    <a:gd name="connsiteY286" fmla="*/ 568923 h 2053850"/>
                    <a:gd name="connsiteX287" fmla="*/ 618321 w 2051465"/>
                    <a:gd name="connsiteY287" fmla="*/ 541943 h 2053850"/>
                    <a:gd name="connsiteX288" fmla="*/ 646450 w 2051465"/>
                    <a:gd name="connsiteY288" fmla="*/ 535766 h 2053850"/>
                    <a:gd name="connsiteX289" fmla="*/ 624429 w 2051465"/>
                    <a:gd name="connsiteY289" fmla="*/ 516913 h 2053850"/>
                    <a:gd name="connsiteX290" fmla="*/ 1374698 w 2051465"/>
                    <a:gd name="connsiteY290" fmla="*/ 421027 h 2053850"/>
                    <a:gd name="connsiteX291" fmla="*/ 1350701 w 2051465"/>
                    <a:gd name="connsiteY291" fmla="*/ 437421 h 2053850"/>
                    <a:gd name="connsiteX292" fmla="*/ 1323806 w 2051465"/>
                    <a:gd name="connsiteY292" fmla="*/ 426437 h 2053850"/>
                    <a:gd name="connsiteX293" fmla="*/ 1331697 w 2051465"/>
                    <a:gd name="connsiteY293" fmla="*/ 454798 h 2053850"/>
                    <a:gd name="connsiteX294" fmla="*/ 1313176 w 2051465"/>
                    <a:gd name="connsiteY294" fmla="*/ 477422 h 2053850"/>
                    <a:gd name="connsiteX295" fmla="*/ 1342004 w 2051465"/>
                    <a:gd name="connsiteY295" fmla="*/ 478569 h 2053850"/>
                    <a:gd name="connsiteX296" fmla="*/ 1357465 w 2051465"/>
                    <a:gd name="connsiteY296" fmla="*/ 503324 h 2053850"/>
                    <a:gd name="connsiteX297" fmla="*/ 1367450 w 2051465"/>
                    <a:gd name="connsiteY297" fmla="*/ 475783 h 2053850"/>
                    <a:gd name="connsiteX298" fmla="*/ 1395473 w 2051465"/>
                    <a:gd name="connsiteY298" fmla="*/ 468569 h 2053850"/>
                    <a:gd name="connsiteX299" fmla="*/ 1372765 w 2051465"/>
                    <a:gd name="connsiteY299" fmla="*/ 450372 h 2053850"/>
                    <a:gd name="connsiteX300" fmla="*/ 676768 w 2051465"/>
                    <a:gd name="connsiteY300" fmla="*/ 421027 h 2053850"/>
                    <a:gd name="connsiteX301" fmla="*/ 678700 w 2051465"/>
                    <a:gd name="connsiteY301" fmla="*/ 450372 h 2053850"/>
                    <a:gd name="connsiteX302" fmla="*/ 655992 w 2051465"/>
                    <a:gd name="connsiteY302" fmla="*/ 468569 h 2053850"/>
                    <a:gd name="connsiteX303" fmla="*/ 684015 w 2051465"/>
                    <a:gd name="connsiteY303" fmla="*/ 475783 h 2053850"/>
                    <a:gd name="connsiteX304" fmla="*/ 694000 w 2051465"/>
                    <a:gd name="connsiteY304" fmla="*/ 503324 h 2053850"/>
                    <a:gd name="connsiteX305" fmla="*/ 709461 w 2051465"/>
                    <a:gd name="connsiteY305" fmla="*/ 478569 h 2053850"/>
                    <a:gd name="connsiteX306" fmla="*/ 738289 w 2051465"/>
                    <a:gd name="connsiteY306" fmla="*/ 477422 h 2053850"/>
                    <a:gd name="connsiteX307" fmla="*/ 719768 w 2051465"/>
                    <a:gd name="connsiteY307" fmla="*/ 454798 h 2053850"/>
                    <a:gd name="connsiteX308" fmla="*/ 727660 w 2051465"/>
                    <a:gd name="connsiteY308" fmla="*/ 426437 h 2053850"/>
                    <a:gd name="connsiteX309" fmla="*/ 700764 w 2051465"/>
                    <a:gd name="connsiteY309" fmla="*/ 437421 h 2053850"/>
                    <a:gd name="connsiteX310" fmla="*/ 1264106 w 2051465"/>
                    <a:gd name="connsiteY310" fmla="*/ 369741 h 2053850"/>
                    <a:gd name="connsiteX311" fmla="*/ 1243238 w 2051465"/>
                    <a:gd name="connsiteY311" fmla="*/ 389883 h 2053850"/>
                    <a:gd name="connsiteX312" fmla="*/ 1214768 w 2051465"/>
                    <a:gd name="connsiteY312" fmla="*/ 384035 h 2053850"/>
                    <a:gd name="connsiteX313" fmla="*/ 1227385 w 2051465"/>
                    <a:gd name="connsiteY313" fmla="*/ 410187 h 2053850"/>
                    <a:gd name="connsiteX314" fmla="*/ 1212988 w 2051465"/>
                    <a:gd name="connsiteY314" fmla="*/ 435526 h 2053850"/>
                    <a:gd name="connsiteX315" fmla="*/ 1241782 w 2051465"/>
                    <a:gd name="connsiteY315" fmla="*/ 431628 h 2053850"/>
                    <a:gd name="connsiteX316" fmla="*/ 1261194 w 2051465"/>
                    <a:gd name="connsiteY316" fmla="*/ 453231 h 2053850"/>
                    <a:gd name="connsiteX317" fmla="*/ 1266371 w 2051465"/>
                    <a:gd name="connsiteY317" fmla="*/ 424481 h 2053850"/>
                    <a:gd name="connsiteX318" fmla="*/ 1292900 w 2051465"/>
                    <a:gd name="connsiteY318" fmla="*/ 412461 h 2053850"/>
                    <a:gd name="connsiteX319" fmla="*/ 1267341 w 2051465"/>
                    <a:gd name="connsiteY319" fmla="*/ 398654 h 2053850"/>
                    <a:gd name="connsiteX320" fmla="*/ 786930 w 2051465"/>
                    <a:gd name="connsiteY320" fmla="*/ 369741 h 2053850"/>
                    <a:gd name="connsiteX321" fmla="*/ 783743 w 2051465"/>
                    <a:gd name="connsiteY321" fmla="*/ 398654 h 2053850"/>
                    <a:gd name="connsiteX322" fmla="*/ 758565 w 2051465"/>
                    <a:gd name="connsiteY322" fmla="*/ 412461 h 2053850"/>
                    <a:gd name="connsiteX323" fmla="*/ 784699 w 2051465"/>
                    <a:gd name="connsiteY323" fmla="*/ 424481 h 2053850"/>
                    <a:gd name="connsiteX324" fmla="*/ 789798 w 2051465"/>
                    <a:gd name="connsiteY324" fmla="*/ 453231 h 2053850"/>
                    <a:gd name="connsiteX325" fmla="*/ 808920 w 2051465"/>
                    <a:gd name="connsiteY325" fmla="*/ 431628 h 2053850"/>
                    <a:gd name="connsiteX326" fmla="*/ 837284 w 2051465"/>
                    <a:gd name="connsiteY326" fmla="*/ 435526 h 2053850"/>
                    <a:gd name="connsiteX327" fmla="*/ 823102 w 2051465"/>
                    <a:gd name="connsiteY327" fmla="*/ 410187 h 2053850"/>
                    <a:gd name="connsiteX328" fmla="*/ 835531 w 2051465"/>
                    <a:gd name="connsiteY328" fmla="*/ 384035 h 2053850"/>
                    <a:gd name="connsiteX329" fmla="*/ 807486 w 2051465"/>
                    <a:gd name="connsiteY329" fmla="*/ 389883 h 2053850"/>
                    <a:gd name="connsiteX330" fmla="*/ 1146715 w 2051465"/>
                    <a:gd name="connsiteY330" fmla="*/ 338730 h 2053850"/>
                    <a:gd name="connsiteX331" fmla="*/ 1129724 w 2051465"/>
                    <a:gd name="connsiteY331" fmla="*/ 362174 h 2053850"/>
                    <a:gd name="connsiteX332" fmla="*/ 1100873 w 2051465"/>
                    <a:gd name="connsiteY332" fmla="*/ 361204 h 2053850"/>
                    <a:gd name="connsiteX333" fmla="*/ 1117703 w 2051465"/>
                    <a:gd name="connsiteY333" fmla="*/ 384810 h 2053850"/>
                    <a:gd name="connsiteX334" fmla="*/ 1108086 w 2051465"/>
                    <a:gd name="connsiteY334" fmla="*/ 412135 h 2053850"/>
                    <a:gd name="connsiteX335" fmla="*/ 1135334 w 2051465"/>
                    <a:gd name="connsiteY335" fmla="*/ 403242 h 2053850"/>
                    <a:gd name="connsiteX336" fmla="*/ 1158095 w 2051465"/>
                    <a:gd name="connsiteY336" fmla="*/ 421027 h 2053850"/>
                    <a:gd name="connsiteX337" fmla="*/ 1158255 w 2051465"/>
                    <a:gd name="connsiteY337" fmla="*/ 391924 h 2053850"/>
                    <a:gd name="connsiteX338" fmla="*/ 1181977 w 2051465"/>
                    <a:gd name="connsiteY338" fmla="*/ 375594 h 2053850"/>
                    <a:gd name="connsiteX339" fmla="*/ 1154729 w 2051465"/>
                    <a:gd name="connsiteY339" fmla="*/ 366540 h 2053850"/>
                    <a:gd name="connsiteX340" fmla="*/ 904076 w 2051465"/>
                    <a:gd name="connsiteY340" fmla="*/ 338730 h 2053850"/>
                    <a:gd name="connsiteX341" fmla="*/ 895943 w 2051465"/>
                    <a:gd name="connsiteY341" fmla="*/ 366540 h 2053850"/>
                    <a:gd name="connsiteX342" fmla="*/ 868294 w 2051465"/>
                    <a:gd name="connsiteY342" fmla="*/ 375594 h 2053850"/>
                    <a:gd name="connsiteX343" fmla="*/ 892365 w 2051465"/>
                    <a:gd name="connsiteY343" fmla="*/ 391924 h 2053850"/>
                    <a:gd name="connsiteX344" fmla="*/ 892528 w 2051465"/>
                    <a:gd name="connsiteY344" fmla="*/ 421027 h 2053850"/>
                    <a:gd name="connsiteX345" fmla="*/ 915623 w 2051465"/>
                    <a:gd name="connsiteY345" fmla="*/ 403242 h 2053850"/>
                    <a:gd name="connsiteX346" fmla="*/ 943272 w 2051465"/>
                    <a:gd name="connsiteY346" fmla="*/ 412135 h 2053850"/>
                    <a:gd name="connsiteX347" fmla="*/ 933514 w 2051465"/>
                    <a:gd name="connsiteY347" fmla="*/ 384810 h 2053850"/>
                    <a:gd name="connsiteX348" fmla="*/ 950591 w 2051465"/>
                    <a:gd name="connsiteY348" fmla="*/ 361204 h 2053850"/>
                    <a:gd name="connsiteX349" fmla="*/ 921316 w 2051465"/>
                    <a:gd name="connsiteY349" fmla="*/ 362174 h 2053850"/>
                    <a:gd name="connsiteX350" fmla="*/ 1025815 w 2051465"/>
                    <a:gd name="connsiteY350" fmla="*/ 327996 h 2053850"/>
                    <a:gd name="connsiteX351" fmla="*/ 1012795 w 2051465"/>
                    <a:gd name="connsiteY351" fmla="*/ 353914 h 2053850"/>
                    <a:gd name="connsiteX352" fmla="*/ 983988 w 2051465"/>
                    <a:gd name="connsiteY352" fmla="*/ 358099 h 2053850"/>
                    <a:gd name="connsiteX353" fmla="*/ 1004820 w 2051465"/>
                    <a:gd name="connsiteY353" fmla="*/ 378222 h 2053850"/>
                    <a:gd name="connsiteX354" fmla="*/ 999938 w 2051465"/>
                    <a:gd name="connsiteY354" fmla="*/ 406715 h 2053850"/>
                    <a:gd name="connsiteX355" fmla="*/ 1025815 w 2051465"/>
                    <a:gd name="connsiteY355" fmla="*/ 393193 h 2053850"/>
                    <a:gd name="connsiteX356" fmla="*/ 1051529 w 2051465"/>
                    <a:gd name="connsiteY356" fmla="*/ 406715 h 2053850"/>
                    <a:gd name="connsiteX357" fmla="*/ 1046646 w 2051465"/>
                    <a:gd name="connsiteY357" fmla="*/ 378222 h 2053850"/>
                    <a:gd name="connsiteX358" fmla="*/ 1067478 w 2051465"/>
                    <a:gd name="connsiteY358" fmla="*/ 358099 h 2053850"/>
                    <a:gd name="connsiteX359" fmla="*/ 1038672 w 2051465"/>
                    <a:gd name="connsiteY359" fmla="*/ 353914 h 2053850"/>
                    <a:gd name="connsiteX360" fmla="*/ 1021692 w 2051465"/>
                    <a:gd name="connsiteY360" fmla="*/ 287509 h 2053850"/>
                    <a:gd name="connsiteX361" fmla="*/ 1748629 w 2051465"/>
                    <a:gd name="connsiteY361" fmla="*/ 1014446 h 2053850"/>
                    <a:gd name="connsiteX362" fmla="*/ 1021692 w 2051465"/>
                    <a:gd name="connsiteY362" fmla="*/ 1741383 h 2053850"/>
                    <a:gd name="connsiteX363" fmla="*/ 294755 w 2051465"/>
                    <a:gd name="connsiteY363" fmla="*/ 1014446 h 2053850"/>
                    <a:gd name="connsiteX364" fmla="*/ 1021692 w 2051465"/>
                    <a:gd name="connsiteY364" fmla="*/ 287509 h 2053850"/>
                    <a:gd name="connsiteX365" fmla="*/ 1021692 w 2051465"/>
                    <a:gd name="connsiteY365" fmla="*/ 204488 h 2053850"/>
                    <a:gd name="connsiteX366" fmla="*/ 211734 w 2051465"/>
                    <a:gd name="connsiteY366" fmla="*/ 1014446 h 2053850"/>
                    <a:gd name="connsiteX367" fmla="*/ 1021692 w 2051465"/>
                    <a:gd name="connsiteY367" fmla="*/ 1824404 h 2053850"/>
                    <a:gd name="connsiteX368" fmla="*/ 1831650 w 2051465"/>
                    <a:gd name="connsiteY368" fmla="*/ 1014446 h 2053850"/>
                    <a:gd name="connsiteX369" fmla="*/ 1021692 w 2051465"/>
                    <a:gd name="connsiteY369" fmla="*/ 204488 h 2053850"/>
                    <a:gd name="connsiteX370" fmla="*/ 1025813 w 2051465"/>
                    <a:gd name="connsiteY370" fmla="*/ 0 h 2053850"/>
                    <a:gd name="connsiteX371" fmla="*/ 1266289 w 2051465"/>
                    <a:gd name="connsiteY371" fmla="*/ 127810 h 2053850"/>
                    <a:gd name="connsiteX372" fmla="*/ 1538559 w 2051465"/>
                    <a:gd name="connsiteY372" fmla="*/ 137667 h 2053850"/>
                    <a:gd name="connsiteX373" fmla="*/ 1683167 w 2051465"/>
                    <a:gd name="connsiteY373" fmla="*/ 368727 h 2053850"/>
                    <a:gd name="connsiteX374" fmla="*/ 1913958 w 2051465"/>
                    <a:gd name="connsiteY374" fmla="*/ 513503 h 2053850"/>
                    <a:gd name="connsiteX375" fmla="*/ 1923803 w 2051465"/>
                    <a:gd name="connsiteY375" fmla="*/ 786089 h 2053850"/>
                    <a:gd name="connsiteX376" fmla="*/ 2051465 w 2051465"/>
                    <a:gd name="connsiteY376" fmla="*/ 1027006 h 2053850"/>
                    <a:gd name="connsiteX377" fmla="*/ 1923803 w 2051465"/>
                    <a:gd name="connsiteY377" fmla="*/ 1267923 h 2053850"/>
                    <a:gd name="connsiteX378" fmla="*/ 1913958 w 2051465"/>
                    <a:gd name="connsiteY378" fmla="*/ 1540347 h 2053850"/>
                    <a:gd name="connsiteX379" fmla="*/ 1683167 w 2051465"/>
                    <a:gd name="connsiteY379" fmla="*/ 1685123 h 2053850"/>
                    <a:gd name="connsiteX380" fmla="*/ 1538559 w 2051465"/>
                    <a:gd name="connsiteY380" fmla="*/ 1916345 h 2053850"/>
                    <a:gd name="connsiteX381" fmla="*/ 1266289 w 2051465"/>
                    <a:gd name="connsiteY381" fmla="*/ 1926040 h 2053850"/>
                    <a:gd name="connsiteX382" fmla="*/ 1025813 w 2051465"/>
                    <a:gd name="connsiteY382" fmla="*/ 2053850 h 2053850"/>
                    <a:gd name="connsiteX383" fmla="*/ 785177 w 2051465"/>
                    <a:gd name="connsiteY383" fmla="*/ 1926040 h 2053850"/>
                    <a:gd name="connsiteX384" fmla="*/ 512907 w 2051465"/>
                    <a:gd name="connsiteY384" fmla="*/ 1916345 h 2053850"/>
                    <a:gd name="connsiteX385" fmla="*/ 368299 w 2051465"/>
                    <a:gd name="connsiteY385" fmla="*/ 1685123 h 2053850"/>
                    <a:gd name="connsiteX386" fmla="*/ 137507 w 2051465"/>
                    <a:gd name="connsiteY386" fmla="*/ 1540347 h 2053850"/>
                    <a:gd name="connsiteX387" fmla="*/ 127662 w 2051465"/>
                    <a:gd name="connsiteY387" fmla="*/ 1267923 h 2053850"/>
                    <a:gd name="connsiteX388" fmla="*/ 0 w 2051465"/>
                    <a:gd name="connsiteY388" fmla="*/ 1027006 h 2053850"/>
                    <a:gd name="connsiteX389" fmla="*/ 127662 w 2051465"/>
                    <a:gd name="connsiteY389" fmla="*/ 786089 h 2053850"/>
                    <a:gd name="connsiteX390" fmla="*/ 137507 w 2051465"/>
                    <a:gd name="connsiteY390" fmla="*/ 513503 h 2053850"/>
                    <a:gd name="connsiteX391" fmla="*/ 368299 w 2051465"/>
                    <a:gd name="connsiteY391" fmla="*/ 368727 h 2053850"/>
                    <a:gd name="connsiteX392" fmla="*/ 512907 w 2051465"/>
                    <a:gd name="connsiteY392" fmla="*/ 137667 h 2053850"/>
                    <a:gd name="connsiteX393" fmla="*/ 785177 w 2051465"/>
                    <a:gd name="connsiteY393" fmla="*/ 127810 h 2053850"/>
                    <a:gd name="connsiteX394" fmla="*/ 1025813 w 2051465"/>
                    <a:gd name="connsiteY394" fmla="*/ 0 h 2053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</a:cxnLst>
                  <a:rect l="l" t="t" r="r" b="b"/>
                  <a:pathLst>
                    <a:path w="2051465" h="2053850">
                      <a:moveTo>
                        <a:pt x="999938" y="1647136"/>
                      </a:moveTo>
                      <a:lnTo>
                        <a:pt x="1004820" y="1675527"/>
                      </a:lnTo>
                      <a:lnTo>
                        <a:pt x="983988" y="1695690"/>
                      </a:lnTo>
                      <a:lnTo>
                        <a:pt x="1012795" y="1699884"/>
                      </a:lnTo>
                      <a:lnTo>
                        <a:pt x="1025815" y="1725855"/>
                      </a:lnTo>
                      <a:lnTo>
                        <a:pt x="1038672" y="1699884"/>
                      </a:lnTo>
                      <a:lnTo>
                        <a:pt x="1067478" y="1695690"/>
                      </a:lnTo>
                      <a:lnTo>
                        <a:pt x="1046646" y="1675527"/>
                      </a:lnTo>
                      <a:lnTo>
                        <a:pt x="1051529" y="1647136"/>
                      </a:lnTo>
                      <a:lnTo>
                        <a:pt x="1025815" y="1660525"/>
                      </a:lnTo>
                      <a:close/>
                      <a:moveTo>
                        <a:pt x="1158095" y="1634016"/>
                      </a:moveTo>
                      <a:lnTo>
                        <a:pt x="1135334" y="1651418"/>
                      </a:lnTo>
                      <a:lnTo>
                        <a:pt x="1108086" y="1642797"/>
                      </a:lnTo>
                      <a:lnTo>
                        <a:pt x="1117703" y="1669779"/>
                      </a:lnTo>
                      <a:lnTo>
                        <a:pt x="1100873" y="1692928"/>
                      </a:lnTo>
                      <a:lnTo>
                        <a:pt x="1129724" y="1692130"/>
                      </a:lnTo>
                      <a:lnTo>
                        <a:pt x="1146715" y="1715120"/>
                      </a:lnTo>
                      <a:lnTo>
                        <a:pt x="1154729" y="1687660"/>
                      </a:lnTo>
                      <a:lnTo>
                        <a:pt x="1181977" y="1678719"/>
                      </a:lnTo>
                      <a:lnTo>
                        <a:pt x="1158255" y="1662594"/>
                      </a:lnTo>
                      <a:close/>
                      <a:moveTo>
                        <a:pt x="892528" y="1634016"/>
                      </a:moveTo>
                      <a:lnTo>
                        <a:pt x="892365" y="1662594"/>
                      </a:lnTo>
                      <a:lnTo>
                        <a:pt x="868294" y="1678719"/>
                      </a:lnTo>
                      <a:lnTo>
                        <a:pt x="895943" y="1687660"/>
                      </a:lnTo>
                      <a:lnTo>
                        <a:pt x="904076" y="1715120"/>
                      </a:lnTo>
                      <a:lnTo>
                        <a:pt x="921316" y="1692130"/>
                      </a:lnTo>
                      <a:lnTo>
                        <a:pt x="950591" y="1692928"/>
                      </a:lnTo>
                      <a:lnTo>
                        <a:pt x="933514" y="1669779"/>
                      </a:lnTo>
                      <a:lnTo>
                        <a:pt x="943272" y="1642797"/>
                      </a:lnTo>
                      <a:lnTo>
                        <a:pt x="915623" y="1651418"/>
                      </a:lnTo>
                      <a:close/>
                      <a:moveTo>
                        <a:pt x="1261194" y="1600620"/>
                      </a:moveTo>
                      <a:lnTo>
                        <a:pt x="1241782" y="1622103"/>
                      </a:lnTo>
                      <a:lnTo>
                        <a:pt x="1212988" y="1618197"/>
                      </a:lnTo>
                      <a:lnTo>
                        <a:pt x="1227385" y="1643586"/>
                      </a:lnTo>
                      <a:lnTo>
                        <a:pt x="1214768" y="1669951"/>
                      </a:lnTo>
                      <a:lnTo>
                        <a:pt x="1243238" y="1663929"/>
                      </a:lnTo>
                      <a:lnTo>
                        <a:pt x="1264106" y="1684110"/>
                      </a:lnTo>
                      <a:lnTo>
                        <a:pt x="1267341" y="1655141"/>
                      </a:lnTo>
                      <a:lnTo>
                        <a:pt x="1292900" y="1641307"/>
                      </a:lnTo>
                      <a:lnTo>
                        <a:pt x="1266371" y="1629264"/>
                      </a:lnTo>
                      <a:close/>
                      <a:moveTo>
                        <a:pt x="789798" y="1600620"/>
                      </a:moveTo>
                      <a:lnTo>
                        <a:pt x="784699" y="1629264"/>
                      </a:lnTo>
                      <a:lnTo>
                        <a:pt x="758565" y="1641307"/>
                      </a:lnTo>
                      <a:lnTo>
                        <a:pt x="783743" y="1655141"/>
                      </a:lnTo>
                      <a:lnTo>
                        <a:pt x="786930" y="1684110"/>
                      </a:lnTo>
                      <a:lnTo>
                        <a:pt x="807486" y="1663929"/>
                      </a:lnTo>
                      <a:lnTo>
                        <a:pt x="835531" y="1669951"/>
                      </a:lnTo>
                      <a:lnTo>
                        <a:pt x="823102" y="1643586"/>
                      </a:lnTo>
                      <a:lnTo>
                        <a:pt x="837284" y="1618197"/>
                      </a:lnTo>
                      <a:lnTo>
                        <a:pt x="808920" y="1622103"/>
                      </a:lnTo>
                      <a:close/>
                      <a:moveTo>
                        <a:pt x="1357465" y="1551719"/>
                      </a:moveTo>
                      <a:lnTo>
                        <a:pt x="1342004" y="1576277"/>
                      </a:lnTo>
                      <a:lnTo>
                        <a:pt x="1313176" y="1577408"/>
                      </a:lnTo>
                      <a:lnTo>
                        <a:pt x="1331697" y="1599703"/>
                      </a:lnTo>
                      <a:lnTo>
                        <a:pt x="1323806" y="1627492"/>
                      </a:lnTo>
                      <a:lnTo>
                        <a:pt x="1350701" y="1616829"/>
                      </a:lnTo>
                      <a:lnTo>
                        <a:pt x="1374698" y="1632823"/>
                      </a:lnTo>
                      <a:lnTo>
                        <a:pt x="1372765" y="1603904"/>
                      </a:lnTo>
                      <a:lnTo>
                        <a:pt x="1395473" y="1585970"/>
                      </a:lnTo>
                      <a:lnTo>
                        <a:pt x="1367450" y="1578862"/>
                      </a:lnTo>
                      <a:close/>
                      <a:moveTo>
                        <a:pt x="694000" y="1551719"/>
                      </a:moveTo>
                      <a:lnTo>
                        <a:pt x="684015" y="1578862"/>
                      </a:lnTo>
                      <a:lnTo>
                        <a:pt x="655992" y="1585970"/>
                      </a:lnTo>
                      <a:lnTo>
                        <a:pt x="678700" y="1603904"/>
                      </a:lnTo>
                      <a:lnTo>
                        <a:pt x="676768" y="1632823"/>
                      </a:lnTo>
                      <a:lnTo>
                        <a:pt x="700764" y="1616829"/>
                      </a:lnTo>
                      <a:lnTo>
                        <a:pt x="727660" y="1627492"/>
                      </a:lnTo>
                      <a:lnTo>
                        <a:pt x="719768" y="1599703"/>
                      </a:lnTo>
                      <a:lnTo>
                        <a:pt x="738289" y="1577408"/>
                      </a:lnTo>
                      <a:lnTo>
                        <a:pt x="709461" y="1576277"/>
                      </a:lnTo>
                      <a:close/>
                      <a:moveTo>
                        <a:pt x="1442881" y="1486119"/>
                      </a:moveTo>
                      <a:lnTo>
                        <a:pt x="1431951" y="1512757"/>
                      </a:lnTo>
                      <a:lnTo>
                        <a:pt x="1403822" y="1518854"/>
                      </a:lnTo>
                      <a:lnTo>
                        <a:pt x="1425843" y="1537468"/>
                      </a:lnTo>
                      <a:lnTo>
                        <a:pt x="1422950" y="1566031"/>
                      </a:lnTo>
                      <a:lnTo>
                        <a:pt x="1447382" y="1550947"/>
                      </a:lnTo>
                      <a:lnTo>
                        <a:pt x="1473743" y="1562501"/>
                      </a:lnTo>
                      <a:lnTo>
                        <a:pt x="1466992" y="1534580"/>
                      </a:lnTo>
                      <a:lnTo>
                        <a:pt x="1486119" y="1513078"/>
                      </a:lnTo>
                      <a:lnTo>
                        <a:pt x="1457347" y="1510831"/>
                      </a:lnTo>
                      <a:close/>
                      <a:moveTo>
                        <a:pt x="607391" y="1486119"/>
                      </a:moveTo>
                      <a:lnTo>
                        <a:pt x="592925" y="1510831"/>
                      </a:lnTo>
                      <a:lnTo>
                        <a:pt x="564153" y="1513078"/>
                      </a:lnTo>
                      <a:lnTo>
                        <a:pt x="583281" y="1534580"/>
                      </a:lnTo>
                      <a:lnTo>
                        <a:pt x="576530" y="1562501"/>
                      </a:lnTo>
                      <a:lnTo>
                        <a:pt x="602891" y="1550947"/>
                      </a:lnTo>
                      <a:lnTo>
                        <a:pt x="627323" y="1566031"/>
                      </a:lnTo>
                      <a:lnTo>
                        <a:pt x="624429" y="1537468"/>
                      </a:lnTo>
                      <a:lnTo>
                        <a:pt x="646450" y="1518854"/>
                      </a:lnTo>
                      <a:lnTo>
                        <a:pt x="618321" y="1512757"/>
                      </a:lnTo>
                      <a:close/>
                      <a:moveTo>
                        <a:pt x="1516404" y="1406208"/>
                      </a:moveTo>
                      <a:lnTo>
                        <a:pt x="1510318" y="1434337"/>
                      </a:lnTo>
                      <a:lnTo>
                        <a:pt x="1483734" y="1445267"/>
                      </a:lnTo>
                      <a:lnTo>
                        <a:pt x="1508557" y="1459894"/>
                      </a:lnTo>
                      <a:lnTo>
                        <a:pt x="1510799" y="1488505"/>
                      </a:lnTo>
                      <a:lnTo>
                        <a:pt x="1532098" y="1469378"/>
                      </a:lnTo>
                      <a:lnTo>
                        <a:pt x="1560123" y="1476289"/>
                      </a:lnTo>
                      <a:lnTo>
                        <a:pt x="1548593" y="1449768"/>
                      </a:lnTo>
                      <a:lnTo>
                        <a:pt x="1563646" y="1425336"/>
                      </a:lnTo>
                      <a:lnTo>
                        <a:pt x="1534980" y="1428229"/>
                      </a:lnTo>
                      <a:close/>
                      <a:moveTo>
                        <a:pt x="534575" y="1406208"/>
                      </a:moveTo>
                      <a:lnTo>
                        <a:pt x="515721" y="1428229"/>
                      </a:lnTo>
                      <a:lnTo>
                        <a:pt x="486627" y="1425336"/>
                      </a:lnTo>
                      <a:lnTo>
                        <a:pt x="502068" y="1449768"/>
                      </a:lnTo>
                      <a:lnTo>
                        <a:pt x="490203" y="1476289"/>
                      </a:lnTo>
                      <a:lnTo>
                        <a:pt x="518646" y="1469378"/>
                      </a:lnTo>
                      <a:lnTo>
                        <a:pt x="540263" y="1488505"/>
                      </a:lnTo>
                      <a:lnTo>
                        <a:pt x="542539" y="1459894"/>
                      </a:lnTo>
                      <a:lnTo>
                        <a:pt x="567731" y="1445267"/>
                      </a:lnTo>
                      <a:lnTo>
                        <a:pt x="540751" y="1434337"/>
                      </a:lnTo>
                      <a:close/>
                      <a:moveTo>
                        <a:pt x="1575022" y="1315562"/>
                      </a:moveTo>
                      <a:lnTo>
                        <a:pt x="1573729" y="1344390"/>
                      </a:lnTo>
                      <a:lnTo>
                        <a:pt x="1549333" y="1359851"/>
                      </a:lnTo>
                      <a:lnTo>
                        <a:pt x="1576476" y="1369836"/>
                      </a:lnTo>
                      <a:lnTo>
                        <a:pt x="1583584" y="1397859"/>
                      </a:lnTo>
                      <a:lnTo>
                        <a:pt x="1601518" y="1375151"/>
                      </a:lnTo>
                      <a:lnTo>
                        <a:pt x="1630437" y="1377084"/>
                      </a:lnTo>
                      <a:lnTo>
                        <a:pt x="1614443" y="1353087"/>
                      </a:lnTo>
                      <a:lnTo>
                        <a:pt x="1625106" y="1326192"/>
                      </a:lnTo>
                      <a:lnTo>
                        <a:pt x="1597156" y="1334083"/>
                      </a:lnTo>
                      <a:close/>
                      <a:moveTo>
                        <a:pt x="476443" y="1315562"/>
                      </a:moveTo>
                      <a:lnTo>
                        <a:pt x="454309" y="1334083"/>
                      </a:lnTo>
                      <a:lnTo>
                        <a:pt x="426359" y="1326192"/>
                      </a:lnTo>
                      <a:lnTo>
                        <a:pt x="437022" y="1353087"/>
                      </a:lnTo>
                      <a:lnTo>
                        <a:pt x="421027" y="1377084"/>
                      </a:lnTo>
                      <a:lnTo>
                        <a:pt x="449947" y="1375151"/>
                      </a:lnTo>
                      <a:lnTo>
                        <a:pt x="467880" y="1397859"/>
                      </a:lnTo>
                      <a:lnTo>
                        <a:pt x="474989" y="1369836"/>
                      </a:lnTo>
                      <a:lnTo>
                        <a:pt x="502131" y="1359851"/>
                      </a:lnTo>
                      <a:lnTo>
                        <a:pt x="477735" y="1344390"/>
                      </a:lnTo>
                      <a:close/>
                      <a:moveTo>
                        <a:pt x="1615811" y="1215374"/>
                      </a:moveTo>
                      <a:lnTo>
                        <a:pt x="1619717" y="1244168"/>
                      </a:lnTo>
                      <a:lnTo>
                        <a:pt x="1598234" y="1263580"/>
                      </a:lnTo>
                      <a:lnTo>
                        <a:pt x="1626878" y="1268757"/>
                      </a:lnTo>
                      <a:lnTo>
                        <a:pt x="1638921" y="1295286"/>
                      </a:lnTo>
                      <a:lnTo>
                        <a:pt x="1652755" y="1269727"/>
                      </a:lnTo>
                      <a:lnTo>
                        <a:pt x="1681724" y="1266492"/>
                      </a:lnTo>
                      <a:lnTo>
                        <a:pt x="1661543" y="1245624"/>
                      </a:lnTo>
                      <a:lnTo>
                        <a:pt x="1667402" y="1217154"/>
                      </a:lnTo>
                      <a:lnTo>
                        <a:pt x="1641200" y="1229771"/>
                      </a:lnTo>
                      <a:close/>
                      <a:moveTo>
                        <a:pt x="434713" y="1215374"/>
                      </a:moveTo>
                      <a:lnTo>
                        <a:pt x="409687" y="1229771"/>
                      </a:lnTo>
                      <a:lnTo>
                        <a:pt x="383858" y="1217154"/>
                      </a:lnTo>
                      <a:lnTo>
                        <a:pt x="389634" y="1245624"/>
                      </a:lnTo>
                      <a:lnTo>
                        <a:pt x="369741" y="1266492"/>
                      </a:lnTo>
                      <a:lnTo>
                        <a:pt x="398297" y="1269727"/>
                      </a:lnTo>
                      <a:lnTo>
                        <a:pt x="411932" y="1295286"/>
                      </a:lnTo>
                      <a:lnTo>
                        <a:pt x="423804" y="1268757"/>
                      </a:lnTo>
                      <a:lnTo>
                        <a:pt x="452038" y="1263580"/>
                      </a:lnTo>
                      <a:lnTo>
                        <a:pt x="430862" y="1244168"/>
                      </a:lnTo>
                      <a:close/>
                      <a:moveTo>
                        <a:pt x="1690261" y="1102066"/>
                      </a:moveTo>
                      <a:lnTo>
                        <a:pt x="1666655" y="1119015"/>
                      </a:lnTo>
                      <a:lnTo>
                        <a:pt x="1639493" y="1109237"/>
                      </a:lnTo>
                      <a:lnTo>
                        <a:pt x="1648223" y="1137104"/>
                      </a:lnTo>
                      <a:lnTo>
                        <a:pt x="1630438" y="1160082"/>
                      </a:lnTo>
                      <a:lnTo>
                        <a:pt x="1659541" y="1160245"/>
                      </a:lnTo>
                      <a:lnTo>
                        <a:pt x="1675871" y="1184363"/>
                      </a:lnTo>
                      <a:lnTo>
                        <a:pt x="1684926" y="1156659"/>
                      </a:lnTo>
                      <a:lnTo>
                        <a:pt x="1712735" y="1148511"/>
                      </a:lnTo>
                      <a:lnTo>
                        <a:pt x="1689453" y="1131237"/>
                      </a:lnTo>
                      <a:close/>
                      <a:moveTo>
                        <a:pt x="360012" y="1102066"/>
                      </a:moveTo>
                      <a:lnTo>
                        <a:pt x="360821" y="1131237"/>
                      </a:lnTo>
                      <a:lnTo>
                        <a:pt x="337538" y="1148511"/>
                      </a:lnTo>
                      <a:lnTo>
                        <a:pt x="365348" y="1156659"/>
                      </a:lnTo>
                      <a:lnTo>
                        <a:pt x="374402" y="1184363"/>
                      </a:lnTo>
                      <a:lnTo>
                        <a:pt x="390732" y="1160245"/>
                      </a:lnTo>
                      <a:lnTo>
                        <a:pt x="419835" y="1160082"/>
                      </a:lnTo>
                      <a:lnTo>
                        <a:pt x="402050" y="1137104"/>
                      </a:lnTo>
                      <a:lnTo>
                        <a:pt x="410781" y="1109237"/>
                      </a:lnTo>
                      <a:lnTo>
                        <a:pt x="383618" y="1119015"/>
                      </a:lnTo>
                      <a:close/>
                      <a:moveTo>
                        <a:pt x="1693366" y="985180"/>
                      </a:moveTo>
                      <a:lnTo>
                        <a:pt x="1673244" y="1006012"/>
                      </a:lnTo>
                      <a:lnTo>
                        <a:pt x="1644750" y="1001130"/>
                      </a:lnTo>
                      <a:lnTo>
                        <a:pt x="1658273" y="1027007"/>
                      </a:lnTo>
                      <a:lnTo>
                        <a:pt x="1644750" y="1052721"/>
                      </a:lnTo>
                      <a:lnTo>
                        <a:pt x="1673244" y="1047838"/>
                      </a:lnTo>
                      <a:lnTo>
                        <a:pt x="1693366" y="1068670"/>
                      </a:lnTo>
                      <a:lnTo>
                        <a:pt x="1697552" y="1039864"/>
                      </a:lnTo>
                      <a:lnTo>
                        <a:pt x="1723469" y="1027007"/>
                      </a:lnTo>
                      <a:lnTo>
                        <a:pt x="1697552" y="1013987"/>
                      </a:lnTo>
                      <a:close/>
                      <a:moveTo>
                        <a:pt x="357363" y="985180"/>
                      </a:moveTo>
                      <a:lnTo>
                        <a:pt x="353114" y="1013987"/>
                      </a:lnTo>
                      <a:lnTo>
                        <a:pt x="326803" y="1027007"/>
                      </a:lnTo>
                      <a:lnTo>
                        <a:pt x="353114" y="1039864"/>
                      </a:lnTo>
                      <a:lnTo>
                        <a:pt x="357363" y="1068670"/>
                      </a:lnTo>
                      <a:lnTo>
                        <a:pt x="377790" y="1047838"/>
                      </a:lnTo>
                      <a:lnTo>
                        <a:pt x="406715" y="1052721"/>
                      </a:lnTo>
                      <a:lnTo>
                        <a:pt x="392988" y="1027007"/>
                      </a:lnTo>
                      <a:lnTo>
                        <a:pt x="406715" y="1001130"/>
                      </a:lnTo>
                      <a:lnTo>
                        <a:pt x="377790" y="1006012"/>
                      </a:lnTo>
                      <a:close/>
                      <a:moveTo>
                        <a:pt x="1675871" y="869487"/>
                      </a:moveTo>
                      <a:lnTo>
                        <a:pt x="1659541" y="893558"/>
                      </a:lnTo>
                      <a:lnTo>
                        <a:pt x="1630438" y="893721"/>
                      </a:lnTo>
                      <a:lnTo>
                        <a:pt x="1648223" y="916816"/>
                      </a:lnTo>
                      <a:lnTo>
                        <a:pt x="1639493" y="944628"/>
                      </a:lnTo>
                      <a:lnTo>
                        <a:pt x="1666655" y="934707"/>
                      </a:lnTo>
                      <a:lnTo>
                        <a:pt x="1690261" y="951784"/>
                      </a:lnTo>
                      <a:lnTo>
                        <a:pt x="1689453" y="922509"/>
                      </a:lnTo>
                      <a:lnTo>
                        <a:pt x="1712735" y="905269"/>
                      </a:lnTo>
                      <a:lnTo>
                        <a:pt x="1684926" y="897136"/>
                      </a:lnTo>
                      <a:close/>
                      <a:moveTo>
                        <a:pt x="374402" y="869487"/>
                      </a:moveTo>
                      <a:lnTo>
                        <a:pt x="365348" y="897136"/>
                      </a:lnTo>
                      <a:lnTo>
                        <a:pt x="337538" y="905269"/>
                      </a:lnTo>
                      <a:lnTo>
                        <a:pt x="360821" y="922509"/>
                      </a:lnTo>
                      <a:lnTo>
                        <a:pt x="360012" y="951784"/>
                      </a:lnTo>
                      <a:lnTo>
                        <a:pt x="383618" y="934707"/>
                      </a:lnTo>
                      <a:lnTo>
                        <a:pt x="410781" y="944628"/>
                      </a:lnTo>
                      <a:lnTo>
                        <a:pt x="402050" y="916816"/>
                      </a:lnTo>
                      <a:lnTo>
                        <a:pt x="419835" y="893721"/>
                      </a:lnTo>
                      <a:lnTo>
                        <a:pt x="390732" y="893558"/>
                      </a:lnTo>
                      <a:close/>
                      <a:moveTo>
                        <a:pt x="1638921" y="759758"/>
                      </a:moveTo>
                      <a:lnTo>
                        <a:pt x="1626878" y="785892"/>
                      </a:lnTo>
                      <a:lnTo>
                        <a:pt x="1598234" y="790991"/>
                      </a:lnTo>
                      <a:lnTo>
                        <a:pt x="1619717" y="810272"/>
                      </a:lnTo>
                      <a:lnTo>
                        <a:pt x="1615811" y="838477"/>
                      </a:lnTo>
                      <a:lnTo>
                        <a:pt x="1641200" y="824295"/>
                      </a:lnTo>
                      <a:lnTo>
                        <a:pt x="1667402" y="836724"/>
                      </a:lnTo>
                      <a:lnTo>
                        <a:pt x="1661543" y="808838"/>
                      </a:lnTo>
                      <a:lnTo>
                        <a:pt x="1681724" y="788123"/>
                      </a:lnTo>
                      <a:lnTo>
                        <a:pt x="1652755" y="784936"/>
                      </a:lnTo>
                      <a:close/>
                      <a:moveTo>
                        <a:pt x="411932" y="759758"/>
                      </a:moveTo>
                      <a:lnTo>
                        <a:pt x="398297" y="784936"/>
                      </a:lnTo>
                      <a:lnTo>
                        <a:pt x="369741" y="788123"/>
                      </a:lnTo>
                      <a:lnTo>
                        <a:pt x="389634" y="808838"/>
                      </a:lnTo>
                      <a:lnTo>
                        <a:pt x="383858" y="836724"/>
                      </a:lnTo>
                      <a:lnTo>
                        <a:pt x="409687" y="824295"/>
                      </a:lnTo>
                      <a:lnTo>
                        <a:pt x="434713" y="838477"/>
                      </a:lnTo>
                      <a:lnTo>
                        <a:pt x="430862" y="810272"/>
                      </a:lnTo>
                      <a:lnTo>
                        <a:pt x="452038" y="790991"/>
                      </a:lnTo>
                      <a:lnTo>
                        <a:pt x="423804" y="785892"/>
                      </a:lnTo>
                      <a:close/>
                      <a:moveTo>
                        <a:pt x="1583584" y="655992"/>
                      </a:moveTo>
                      <a:lnTo>
                        <a:pt x="1576476" y="684421"/>
                      </a:lnTo>
                      <a:lnTo>
                        <a:pt x="1549333" y="694551"/>
                      </a:lnTo>
                      <a:lnTo>
                        <a:pt x="1573729" y="710236"/>
                      </a:lnTo>
                      <a:lnTo>
                        <a:pt x="1575022" y="739482"/>
                      </a:lnTo>
                      <a:lnTo>
                        <a:pt x="1597156" y="720856"/>
                      </a:lnTo>
                      <a:lnTo>
                        <a:pt x="1625106" y="728699"/>
                      </a:lnTo>
                      <a:lnTo>
                        <a:pt x="1614443" y="701577"/>
                      </a:lnTo>
                      <a:lnTo>
                        <a:pt x="1630437" y="677232"/>
                      </a:lnTo>
                      <a:lnTo>
                        <a:pt x="1601518" y="679029"/>
                      </a:lnTo>
                      <a:close/>
                      <a:moveTo>
                        <a:pt x="467880" y="655992"/>
                      </a:moveTo>
                      <a:lnTo>
                        <a:pt x="449947" y="679029"/>
                      </a:lnTo>
                      <a:lnTo>
                        <a:pt x="421027" y="677232"/>
                      </a:lnTo>
                      <a:lnTo>
                        <a:pt x="437022" y="701577"/>
                      </a:lnTo>
                      <a:lnTo>
                        <a:pt x="426359" y="728699"/>
                      </a:lnTo>
                      <a:lnTo>
                        <a:pt x="454309" y="720856"/>
                      </a:lnTo>
                      <a:lnTo>
                        <a:pt x="476443" y="739482"/>
                      </a:lnTo>
                      <a:lnTo>
                        <a:pt x="477735" y="710236"/>
                      </a:lnTo>
                      <a:lnTo>
                        <a:pt x="502131" y="694551"/>
                      </a:lnTo>
                      <a:lnTo>
                        <a:pt x="474989" y="684421"/>
                      </a:lnTo>
                      <a:close/>
                      <a:moveTo>
                        <a:pt x="1510799" y="565346"/>
                      </a:moveTo>
                      <a:lnTo>
                        <a:pt x="1508557" y="594118"/>
                      </a:lnTo>
                      <a:lnTo>
                        <a:pt x="1483734" y="608584"/>
                      </a:lnTo>
                      <a:lnTo>
                        <a:pt x="1510318" y="619514"/>
                      </a:lnTo>
                      <a:lnTo>
                        <a:pt x="1516404" y="647643"/>
                      </a:lnTo>
                      <a:lnTo>
                        <a:pt x="1534980" y="625783"/>
                      </a:lnTo>
                      <a:lnTo>
                        <a:pt x="1563646" y="628516"/>
                      </a:lnTo>
                      <a:lnTo>
                        <a:pt x="1548593" y="604084"/>
                      </a:lnTo>
                      <a:lnTo>
                        <a:pt x="1560123" y="577723"/>
                      </a:lnTo>
                      <a:lnTo>
                        <a:pt x="1532098" y="584474"/>
                      </a:lnTo>
                      <a:close/>
                      <a:moveTo>
                        <a:pt x="540263" y="565346"/>
                      </a:moveTo>
                      <a:lnTo>
                        <a:pt x="518646" y="584474"/>
                      </a:lnTo>
                      <a:lnTo>
                        <a:pt x="490203" y="577723"/>
                      </a:lnTo>
                      <a:lnTo>
                        <a:pt x="502068" y="604084"/>
                      </a:lnTo>
                      <a:lnTo>
                        <a:pt x="486627" y="628516"/>
                      </a:lnTo>
                      <a:lnTo>
                        <a:pt x="515721" y="625783"/>
                      </a:lnTo>
                      <a:lnTo>
                        <a:pt x="534575" y="647643"/>
                      </a:lnTo>
                      <a:lnTo>
                        <a:pt x="540751" y="619514"/>
                      </a:lnTo>
                      <a:lnTo>
                        <a:pt x="567731" y="608584"/>
                      </a:lnTo>
                      <a:lnTo>
                        <a:pt x="542539" y="594118"/>
                      </a:lnTo>
                      <a:close/>
                      <a:moveTo>
                        <a:pt x="1422950" y="487819"/>
                      </a:moveTo>
                      <a:lnTo>
                        <a:pt x="1425843" y="516913"/>
                      </a:lnTo>
                      <a:lnTo>
                        <a:pt x="1403822" y="535766"/>
                      </a:lnTo>
                      <a:lnTo>
                        <a:pt x="1431951" y="541943"/>
                      </a:lnTo>
                      <a:lnTo>
                        <a:pt x="1442881" y="568923"/>
                      </a:lnTo>
                      <a:lnTo>
                        <a:pt x="1457347" y="543731"/>
                      </a:lnTo>
                      <a:lnTo>
                        <a:pt x="1486119" y="541618"/>
                      </a:lnTo>
                      <a:lnTo>
                        <a:pt x="1466992" y="519838"/>
                      </a:lnTo>
                      <a:lnTo>
                        <a:pt x="1473743" y="491557"/>
                      </a:lnTo>
                      <a:lnTo>
                        <a:pt x="1447382" y="503260"/>
                      </a:lnTo>
                      <a:close/>
                      <a:moveTo>
                        <a:pt x="627323" y="487819"/>
                      </a:moveTo>
                      <a:lnTo>
                        <a:pt x="602891" y="503260"/>
                      </a:lnTo>
                      <a:lnTo>
                        <a:pt x="576530" y="491557"/>
                      </a:lnTo>
                      <a:lnTo>
                        <a:pt x="583281" y="519838"/>
                      </a:lnTo>
                      <a:lnTo>
                        <a:pt x="564153" y="541618"/>
                      </a:lnTo>
                      <a:lnTo>
                        <a:pt x="592925" y="543731"/>
                      </a:lnTo>
                      <a:lnTo>
                        <a:pt x="607391" y="568923"/>
                      </a:lnTo>
                      <a:lnTo>
                        <a:pt x="618321" y="541943"/>
                      </a:lnTo>
                      <a:lnTo>
                        <a:pt x="646450" y="535766"/>
                      </a:lnTo>
                      <a:lnTo>
                        <a:pt x="624429" y="516913"/>
                      </a:lnTo>
                      <a:close/>
                      <a:moveTo>
                        <a:pt x="1374698" y="421027"/>
                      </a:moveTo>
                      <a:lnTo>
                        <a:pt x="1350701" y="437421"/>
                      </a:lnTo>
                      <a:lnTo>
                        <a:pt x="1323806" y="426437"/>
                      </a:lnTo>
                      <a:lnTo>
                        <a:pt x="1331697" y="454798"/>
                      </a:lnTo>
                      <a:lnTo>
                        <a:pt x="1313176" y="477422"/>
                      </a:lnTo>
                      <a:lnTo>
                        <a:pt x="1342004" y="478569"/>
                      </a:lnTo>
                      <a:lnTo>
                        <a:pt x="1357465" y="503324"/>
                      </a:lnTo>
                      <a:lnTo>
                        <a:pt x="1367450" y="475783"/>
                      </a:lnTo>
                      <a:lnTo>
                        <a:pt x="1395473" y="468569"/>
                      </a:lnTo>
                      <a:lnTo>
                        <a:pt x="1372765" y="450372"/>
                      </a:lnTo>
                      <a:close/>
                      <a:moveTo>
                        <a:pt x="676768" y="421027"/>
                      </a:moveTo>
                      <a:lnTo>
                        <a:pt x="678700" y="450372"/>
                      </a:lnTo>
                      <a:lnTo>
                        <a:pt x="655992" y="468569"/>
                      </a:lnTo>
                      <a:lnTo>
                        <a:pt x="684015" y="475783"/>
                      </a:lnTo>
                      <a:lnTo>
                        <a:pt x="694000" y="503324"/>
                      </a:lnTo>
                      <a:lnTo>
                        <a:pt x="709461" y="478569"/>
                      </a:lnTo>
                      <a:lnTo>
                        <a:pt x="738289" y="477422"/>
                      </a:lnTo>
                      <a:lnTo>
                        <a:pt x="719768" y="454798"/>
                      </a:lnTo>
                      <a:lnTo>
                        <a:pt x="727660" y="426437"/>
                      </a:lnTo>
                      <a:lnTo>
                        <a:pt x="700764" y="437421"/>
                      </a:lnTo>
                      <a:close/>
                      <a:moveTo>
                        <a:pt x="1264106" y="369741"/>
                      </a:moveTo>
                      <a:lnTo>
                        <a:pt x="1243238" y="389883"/>
                      </a:lnTo>
                      <a:lnTo>
                        <a:pt x="1214768" y="384035"/>
                      </a:lnTo>
                      <a:lnTo>
                        <a:pt x="1227385" y="410187"/>
                      </a:lnTo>
                      <a:lnTo>
                        <a:pt x="1212988" y="435526"/>
                      </a:lnTo>
                      <a:lnTo>
                        <a:pt x="1241782" y="431628"/>
                      </a:lnTo>
                      <a:lnTo>
                        <a:pt x="1261194" y="453231"/>
                      </a:lnTo>
                      <a:lnTo>
                        <a:pt x="1266371" y="424481"/>
                      </a:lnTo>
                      <a:lnTo>
                        <a:pt x="1292900" y="412461"/>
                      </a:lnTo>
                      <a:lnTo>
                        <a:pt x="1267341" y="398654"/>
                      </a:lnTo>
                      <a:close/>
                      <a:moveTo>
                        <a:pt x="786930" y="369741"/>
                      </a:moveTo>
                      <a:lnTo>
                        <a:pt x="783743" y="398654"/>
                      </a:lnTo>
                      <a:lnTo>
                        <a:pt x="758565" y="412461"/>
                      </a:lnTo>
                      <a:lnTo>
                        <a:pt x="784699" y="424481"/>
                      </a:lnTo>
                      <a:lnTo>
                        <a:pt x="789798" y="453231"/>
                      </a:lnTo>
                      <a:lnTo>
                        <a:pt x="808920" y="431628"/>
                      </a:lnTo>
                      <a:lnTo>
                        <a:pt x="837284" y="435526"/>
                      </a:lnTo>
                      <a:lnTo>
                        <a:pt x="823102" y="410187"/>
                      </a:lnTo>
                      <a:lnTo>
                        <a:pt x="835531" y="384035"/>
                      </a:lnTo>
                      <a:lnTo>
                        <a:pt x="807486" y="389883"/>
                      </a:lnTo>
                      <a:close/>
                      <a:moveTo>
                        <a:pt x="1146715" y="338730"/>
                      </a:moveTo>
                      <a:lnTo>
                        <a:pt x="1129724" y="362174"/>
                      </a:lnTo>
                      <a:lnTo>
                        <a:pt x="1100873" y="361204"/>
                      </a:lnTo>
                      <a:lnTo>
                        <a:pt x="1117703" y="384810"/>
                      </a:lnTo>
                      <a:lnTo>
                        <a:pt x="1108086" y="412135"/>
                      </a:lnTo>
                      <a:lnTo>
                        <a:pt x="1135334" y="403242"/>
                      </a:lnTo>
                      <a:lnTo>
                        <a:pt x="1158095" y="421027"/>
                      </a:lnTo>
                      <a:lnTo>
                        <a:pt x="1158255" y="391924"/>
                      </a:lnTo>
                      <a:lnTo>
                        <a:pt x="1181977" y="375594"/>
                      </a:lnTo>
                      <a:lnTo>
                        <a:pt x="1154729" y="366540"/>
                      </a:lnTo>
                      <a:close/>
                      <a:moveTo>
                        <a:pt x="904076" y="338730"/>
                      </a:moveTo>
                      <a:lnTo>
                        <a:pt x="895943" y="366540"/>
                      </a:lnTo>
                      <a:lnTo>
                        <a:pt x="868294" y="375594"/>
                      </a:lnTo>
                      <a:lnTo>
                        <a:pt x="892365" y="391924"/>
                      </a:lnTo>
                      <a:lnTo>
                        <a:pt x="892528" y="421027"/>
                      </a:lnTo>
                      <a:lnTo>
                        <a:pt x="915623" y="403242"/>
                      </a:lnTo>
                      <a:lnTo>
                        <a:pt x="943272" y="412135"/>
                      </a:lnTo>
                      <a:lnTo>
                        <a:pt x="933514" y="384810"/>
                      </a:lnTo>
                      <a:lnTo>
                        <a:pt x="950591" y="361204"/>
                      </a:lnTo>
                      <a:lnTo>
                        <a:pt x="921316" y="362174"/>
                      </a:lnTo>
                      <a:close/>
                      <a:moveTo>
                        <a:pt x="1025815" y="327996"/>
                      </a:moveTo>
                      <a:lnTo>
                        <a:pt x="1012795" y="353914"/>
                      </a:lnTo>
                      <a:lnTo>
                        <a:pt x="983988" y="358099"/>
                      </a:lnTo>
                      <a:lnTo>
                        <a:pt x="1004820" y="378222"/>
                      </a:lnTo>
                      <a:lnTo>
                        <a:pt x="999938" y="406715"/>
                      </a:lnTo>
                      <a:lnTo>
                        <a:pt x="1025815" y="393193"/>
                      </a:lnTo>
                      <a:lnTo>
                        <a:pt x="1051529" y="406715"/>
                      </a:lnTo>
                      <a:lnTo>
                        <a:pt x="1046646" y="378222"/>
                      </a:lnTo>
                      <a:lnTo>
                        <a:pt x="1067478" y="358099"/>
                      </a:lnTo>
                      <a:lnTo>
                        <a:pt x="1038672" y="353914"/>
                      </a:lnTo>
                      <a:close/>
                      <a:moveTo>
                        <a:pt x="1021692" y="287509"/>
                      </a:moveTo>
                      <a:cubicBezTo>
                        <a:pt x="1423168" y="287509"/>
                        <a:pt x="1748629" y="612970"/>
                        <a:pt x="1748629" y="1014446"/>
                      </a:cubicBezTo>
                      <a:cubicBezTo>
                        <a:pt x="1748629" y="1415922"/>
                        <a:pt x="1423168" y="1741383"/>
                        <a:pt x="1021692" y="1741383"/>
                      </a:cubicBezTo>
                      <a:cubicBezTo>
                        <a:pt x="620216" y="1741383"/>
                        <a:pt x="294755" y="1415922"/>
                        <a:pt x="294755" y="1014446"/>
                      </a:cubicBezTo>
                      <a:cubicBezTo>
                        <a:pt x="294755" y="612970"/>
                        <a:pt x="620216" y="287509"/>
                        <a:pt x="1021692" y="287509"/>
                      </a:cubicBezTo>
                      <a:close/>
                      <a:moveTo>
                        <a:pt x="1021692" y="204488"/>
                      </a:moveTo>
                      <a:cubicBezTo>
                        <a:pt x="574365" y="204488"/>
                        <a:pt x="211734" y="567119"/>
                        <a:pt x="211734" y="1014446"/>
                      </a:cubicBezTo>
                      <a:cubicBezTo>
                        <a:pt x="211734" y="1461773"/>
                        <a:pt x="574365" y="1824404"/>
                        <a:pt x="1021692" y="1824404"/>
                      </a:cubicBezTo>
                      <a:cubicBezTo>
                        <a:pt x="1469019" y="1824404"/>
                        <a:pt x="1831650" y="1461773"/>
                        <a:pt x="1831650" y="1014446"/>
                      </a:cubicBezTo>
                      <a:cubicBezTo>
                        <a:pt x="1831650" y="567119"/>
                        <a:pt x="1469019" y="204488"/>
                        <a:pt x="1021692" y="204488"/>
                      </a:cubicBezTo>
                      <a:close/>
                      <a:moveTo>
                        <a:pt x="1025813" y="0"/>
                      </a:moveTo>
                      <a:cubicBezTo>
                        <a:pt x="1111997" y="0"/>
                        <a:pt x="1184463" y="105835"/>
                        <a:pt x="1266289" y="127810"/>
                      </a:cubicBezTo>
                      <a:cubicBezTo>
                        <a:pt x="1348922" y="149947"/>
                        <a:pt x="1464641" y="94848"/>
                        <a:pt x="1538559" y="137667"/>
                      </a:cubicBezTo>
                      <a:cubicBezTo>
                        <a:pt x="1611992" y="180001"/>
                        <a:pt x="1622160" y="307811"/>
                        <a:pt x="1683167" y="368727"/>
                      </a:cubicBezTo>
                      <a:cubicBezTo>
                        <a:pt x="1744012" y="429804"/>
                        <a:pt x="1871674" y="439984"/>
                        <a:pt x="1913958" y="513503"/>
                      </a:cubicBezTo>
                      <a:cubicBezTo>
                        <a:pt x="1956728" y="587507"/>
                        <a:pt x="1901693" y="703360"/>
                        <a:pt x="1923803" y="786089"/>
                      </a:cubicBezTo>
                      <a:cubicBezTo>
                        <a:pt x="1945753" y="868011"/>
                        <a:pt x="2051465" y="940722"/>
                        <a:pt x="2051465" y="1027006"/>
                      </a:cubicBezTo>
                      <a:cubicBezTo>
                        <a:pt x="2051465" y="1113290"/>
                        <a:pt x="1945753" y="1186001"/>
                        <a:pt x="1923803" y="1267923"/>
                      </a:cubicBezTo>
                      <a:cubicBezTo>
                        <a:pt x="1901693" y="1350490"/>
                        <a:pt x="1956728" y="1466343"/>
                        <a:pt x="1913958" y="1540347"/>
                      </a:cubicBezTo>
                      <a:cubicBezTo>
                        <a:pt x="1871674" y="1613866"/>
                        <a:pt x="1744012" y="1624046"/>
                        <a:pt x="1683167" y="1685123"/>
                      </a:cubicBezTo>
                      <a:cubicBezTo>
                        <a:pt x="1622160" y="1746201"/>
                        <a:pt x="1611992" y="1873849"/>
                        <a:pt x="1538559" y="1916345"/>
                      </a:cubicBezTo>
                      <a:cubicBezTo>
                        <a:pt x="1464641" y="1959002"/>
                        <a:pt x="1348922" y="1903903"/>
                        <a:pt x="1266289" y="1926040"/>
                      </a:cubicBezTo>
                      <a:cubicBezTo>
                        <a:pt x="1184463" y="1948015"/>
                        <a:pt x="1111997" y="2053850"/>
                        <a:pt x="1025813" y="2053850"/>
                      </a:cubicBezTo>
                      <a:cubicBezTo>
                        <a:pt x="939468" y="2053850"/>
                        <a:pt x="867003" y="1948015"/>
                        <a:pt x="785177" y="1926040"/>
                      </a:cubicBezTo>
                      <a:cubicBezTo>
                        <a:pt x="702543" y="1903903"/>
                        <a:pt x="586825" y="1959002"/>
                        <a:pt x="512907" y="1916345"/>
                      </a:cubicBezTo>
                      <a:cubicBezTo>
                        <a:pt x="439473" y="1873849"/>
                        <a:pt x="429305" y="1746201"/>
                        <a:pt x="368299" y="1685123"/>
                      </a:cubicBezTo>
                      <a:cubicBezTo>
                        <a:pt x="307454" y="1624046"/>
                        <a:pt x="179792" y="1613866"/>
                        <a:pt x="137507" y="1540347"/>
                      </a:cubicBezTo>
                      <a:cubicBezTo>
                        <a:pt x="94738" y="1466343"/>
                        <a:pt x="149773" y="1350490"/>
                        <a:pt x="127662" y="1267923"/>
                      </a:cubicBezTo>
                      <a:cubicBezTo>
                        <a:pt x="105713" y="1186001"/>
                        <a:pt x="0" y="1113290"/>
                        <a:pt x="0" y="1027006"/>
                      </a:cubicBezTo>
                      <a:cubicBezTo>
                        <a:pt x="0" y="940722"/>
                        <a:pt x="105713" y="868011"/>
                        <a:pt x="127662" y="786089"/>
                      </a:cubicBezTo>
                      <a:cubicBezTo>
                        <a:pt x="149773" y="703360"/>
                        <a:pt x="94738" y="587507"/>
                        <a:pt x="137507" y="513503"/>
                      </a:cubicBezTo>
                      <a:cubicBezTo>
                        <a:pt x="179792" y="439984"/>
                        <a:pt x="307454" y="429804"/>
                        <a:pt x="368299" y="368727"/>
                      </a:cubicBezTo>
                      <a:cubicBezTo>
                        <a:pt x="429305" y="307811"/>
                        <a:pt x="439473" y="180001"/>
                        <a:pt x="512907" y="137667"/>
                      </a:cubicBezTo>
                      <a:cubicBezTo>
                        <a:pt x="586825" y="94848"/>
                        <a:pt x="702543" y="149947"/>
                        <a:pt x="785177" y="127810"/>
                      </a:cubicBezTo>
                      <a:cubicBezTo>
                        <a:pt x="867003" y="105835"/>
                        <a:pt x="939468" y="0"/>
                        <a:pt x="1025813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66" name="Freeform 352"/>
                <p:cNvSpPr>
                  <a:spLocks/>
                </p:cNvSpPr>
                <p:nvPr/>
              </p:nvSpPr>
              <p:spPr bwMode="auto">
                <a:xfrm>
                  <a:off x="7016283" y="5434671"/>
                  <a:ext cx="865909" cy="1238035"/>
                </a:xfrm>
                <a:custGeom>
                  <a:avLst/>
                  <a:gdLst>
                    <a:gd name="T0" fmla="*/ 3234 w 5365"/>
                    <a:gd name="T1" fmla="*/ 384 h 7662"/>
                    <a:gd name="T2" fmla="*/ 1547 w 5365"/>
                    <a:gd name="T3" fmla="*/ 444 h 7662"/>
                    <a:gd name="T4" fmla="*/ 57 w 5365"/>
                    <a:gd name="T5" fmla="*/ 1235 h 7662"/>
                    <a:gd name="T6" fmla="*/ 0 w 5365"/>
                    <a:gd name="T7" fmla="*/ 1233 h 7662"/>
                    <a:gd name="T8" fmla="*/ 1722 w 5365"/>
                    <a:gd name="T9" fmla="*/ 7662 h 7662"/>
                    <a:gd name="T10" fmla="*/ 3185 w 5365"/>
                    <a:gd name="T11" fmla="*/ 5834 h 7662"/>
                    <a:gd name="T12" fmla="*/ 5365 w 5365"/>
                    <a:gd name="T13" fmla="*/ 6686 h 7662"/>
                    <a:gd name="T14" fmla="*/ 3574 w 5365"/>
                    <a:gd name="T15" fmla="*/ 0 h 7662"/>
                    <a:gd name="T16" fmla="*/ 3234 w 5365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5" h="7662">
                      <a:moveTo>
                        <a:pt x="3234" y="384"/>
                      </a:moveTo>
                      <a:cubicBezTo>
                        <a:pt x="2776" y="649"/>
                        <a:pt x="2059" y="307"/>
                        <a:pt x="1547" y="444"/>
                      </a:cubicBezTo>
                      <a:cubicBezTo>
                        <a:pt x="1040" y="580"/>
                        <a:pt x="591" y="1235"/>
                        <a:pt x="57" y="1235"/>
                      </a:cubicBezTo>
                      <a:cubicBezTo>
                        <a:pt x="37" y="1235"/>
                        <a:pt x="18" y="1235"/>
                        <a:pt x="0" y="1233"/>
                      </a:cubicBezTo>
                      <a:lnTo>
                        <a:pt x="1722" y="7662"/>
                      </a:lnTo>
                      <a:lnTo>
                        <a:pt x="3185" y="5834"/>
                      </a:lnTo>
                      <a:lnTo>
                        <a:pt x="5365" y="6686"/>
                      </a:lnTo>
                      <a:lnTo>
                        <a:pt x="3574" y="0"/>
                      </a:lnTo>
                      <a:cubicBezTo>
                        <a:pt x="3485" y="162"/>
                        <a:pt x="3380" y="300"/>
                        <a:pt x="3234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67" name="Freeform 353"/>
                <p:cNvSpPr>
                  <a:spLocks/>
                </p:cNvSpPr>
                <p:nvPr/>
              </p:nvSpPr>
              <p:spPr bwMode="auto">
                <a:xfrm>
                  <a:off x="6076425" y="5434671"/>
                  <a:ext cx="865909" cy="1238035"/>
                </a:xfrm>
                <a:custGeom>
                  <a:avLst/>
                  <a:gdLst>
                    <a:gd name="T0" fmla="*/ 2131 w 5366"/>
                    <a:gd name="T1" fmla="*/ 384 h 7662"/>
                    <a:gd name="T2" fmla="*/ 3818 w 5366"/>
                    <a:gd name="T3" fmla="*/ 444 h 7662"/>
                    <a:gd name="T4" fmla="*/ 5308 w 5366"/>
                    <a:gd name="T5" fmla="*/ 1235 h 7662"/>
                    <a:gd name="T6" fmla="*/ 5366 w 5366"/>
                    <a:gd name="T7" fmla="*/ 1233 h 7662"/>
                    <a:gd name="T8" fmla="*/ 3643 w 5366"/>
                    <a:gd name="T9" fmla="*/ 7662 h 7662"/>
                    <a:gd name="T10" fmla="*/ 2180 w 5366"/>
                    <a:gd name="T11" fmla="*/ 5834 h 7662"/>
                    <a:gd name="T12" fmla="*/ 0 w 5366"/>
                    <a:gd name="T13" fmla="*/ 6686 h 7662"/>
                    <a:gd name="T14" fmla="*/ 1791 w 5366"/>
                    <a:gd name="T15" fmla="*/ 0 h 7662"/>
                    <a:gd name="T16" fmla="*/ 2131 w 5366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6" h="7662">
                      <a:moveTo>
                        <a:pt x="2131" y="384"/>
                      </a:moveTo>
                      <a:cubicBezTo>
                        <a:pt x="2589" y="649"/>
                        <a:pt x="3306" y="307"/>
                        <a:pt x="3818" y="444"/>
                      </a:cubicBezTo>
                      <a:cubicBezTo>
                        <a:pt x="4325" y="580"/>
                        <a:pt x="4774" y="1235"/>
                        <a:pt x="5308" y="1235"/>
                      </a:cubicBezTo>
                      <a:cubicBezTo>
                        <a:pt x="5328" y="1235"/>
                        <a:pt x="5347" y="1235"/>
                        <a:pt x="5366" y="1233"/>
                      </a:cubicBezTo>
                      <a:lnTo>
                        <a:pt x="3643" y="7662"/>
                      </a:lnTo>
                      <a:lnTo>
                        <a:pt x="2180" y="5834"/>
                      </a:lnTo>
                      <a:lnTo>
                        <a:pt x="0" y="6686"/>
                      </a:lnTo>
                      <a:lnTo>
                        <a:pt x="1791" y="0"/>
                      </a:lnTo>
                      <a:cubicBezTo>
                        <a:pt x="1880" y="162"/>
                        <a:pt x="1985" y="300"/>
                        <a:pt x="2131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662" name="TextBox 661"/>
            <p:cNvSpPr txBox="1"/>
            <p:nvPr/>
          </p:nvSpPr>
          <p:spPr>
            <a:xfrm>
              <a:off x="10930603" y="2261582"/>
              <a:ext cx="49885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$100</a:t>
              </a:r>
              <a:endParaRPr lang="en-US" sz="1200" dirty="0"/>
            </a:p>
          </p:txBody>
        </p:sp>
      </p:grpSp>
      <p:sp>
        <p:nvSpPr>
          <p:cNvPr id="675" name="TextBox 674"/>
          <p:cNvSpPr txBox="1"/>
          <p:nvPr/>
        </p:nvSpPr>
        <p:spPr>
          <a:xfrm>
            <a:off x="7183991" y="575694"/>
            <a:ext cx="118481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 smtClean="0"/>
              <a:t>RequestForBid</a:t>
            </a:r>
            <a:r>
              <a:rPr lang="en-US" sz="1200" dirty="0" smtClean="0"/>
              <a:t>()</a:t>
            </a:r>
          </a:p>
          <a:p>
            <a:r>
              <a:rPr lang="en-US" sz="1100" i="1" dirty="0" err="1" smtClean="0"/>
              <a:t>PatientId</a:t>
            </a:r>
            <a:endParaRPr lang="en-US" sz="1100" i="1" dirty="0" smtClean="0"/>
          </a:p>
          <a:p>
            <a:r>
              <a:rPr lang="en-US" sz="1100" i="1" dirty="0" err="1" smtClean="0"/>
              <a:t>PrescriptionId</a:t>
            </a:r>
            <a:endParaRPr lang="en-US" sz="1100" i="1" dirty="0"/>
          </a:p>
        </p:txBody>
      </p:sp>
      <p:sp>
        <p:nvSpPr>
          <p:cNvPr id="676" name="TextBox 675"/>
          <p:cNvSpPr txBox="1"/>
          <p:nvPr/>
        </p:nvSpPr>
        <p:spPr>
          <a:xfrm>
            <a:off x="7183990" y="2578088"/>
            <a:ext cx="981359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 smtClean="0"/>
              <a:t>SubmitBid</a:t>
            </a:r>
            <a:r>
              <a:rPr lang="en-US" sz="1200" dirty="0" smtClean="0"/>
              <a:t>()</a:t>
            </a:r>
          </a:p>
          <a:p>
            <a:r>
              <a:rPr lang="en-US" sz="1100" i="1" dirty="0" err="1" smtClean="0"/>
              <a:t>PatientId</a:t>
            </a:r>
            <a:endParaRPr lang="en-US" sz="1100" i="1" dirty="0" smtClean="0"/>
          </a:p>
          <a:p>
            <a:r>
              <a:rPr lang="en-US" sz="1100" i="1" dirty="0" err="1" smtClean="0"/>
              <a:t>PrescriptionId</a:t>
            </a:r>
            <a:endParaRPr lang="en-US" sz="1100" i="1" dirty="0" smtClean="0"/>
          </a:p>
          <a:p>
            <a:r>
              <a:rPr lang="en-US" sz="1100" i="1" dirty="0" err="1" smtClean="0"/>
              <a:t>BidId</a:t>
            </a:r>
            <a:endParaRPr lang="en-US" sz="1100" i="1" dirty="0"/>
          </a:p>
        </p:txBody>
      </p:sp>
      <p:sp>
        <p:nvSpPr>
          <p:cNvPr id="677" name="TextBox 676"/>
          <p:cNvSpPr txBox="1"/>
          <p:nvPr/>
        </p:nvSpPr>
        <p:spPr>
          <a:xfrm>
            <a:off x="7183989" y="4231052"/>
            <a:ext cx="96853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 smtClean="0"/>
              <a:t>AcceptBid</a:t>
            </a:r>
            <a:r>
              <a:rPr lang="en-US" sz="1200" dirty="0" smtClean="0"/>
              <a:t>()</a:t>
            </a:r>
          </a:p>
          <a:p>
            <a:r>
              <a:rPr lang="en-US" sz="1100" i="1" dirty="0" err="1" smtClean="0"/>
              <a:t>PatientId</a:t>
            </a:r>
            <a:endParaRPr lang="en-US" sz="1100" i="1" dirty="0" smtClean="0"/>
          </a:p>
          <a:p>
            <a:r>
              <a:rPr lang="en-US" sz="1100" i="1" dirty="0" err="1" smtClean="0"/>
              <a:t>PrescriptionId</a:t>
            </a:r>
            <a:endParaRPr lang="en-US" sz="1100" i="1" dirty="0" smtClean="0"/>
          </a:p>
          <a:p>
            <a:r>
              <a:rPr lang="en-US" sz="1100" i="1" dirty="0" err="1" smtClean="0"/>
              <a:t>BidId</a:t>
            </a:r>
            <a:endParaRPr lang="en-US" sz="1100" i="1" dirty="0" smtClean="0"/>
          </a:p>
          <a:p>
            <a:r>
              <a:rPr lang="en-US" sz="1100" i="1" dirty="0" err="1" smtClean="0"/>
              <a:t>IsAccepted</a:t>
            </a:r>
            <a:endParaRPr lang="en-US" sz="1100" i="1" dirty="0"/>
          </a:p>
        </p:txBody>
      </p:sp>
      <p:sp>
        <p:nvSpPr>
          <p:cNvPr id="678" name="TextBox 677"/>
          <p:cNvSpPr txBox="1"/>
          <p:nvPr/>
        </p:nvSpPr>
        <p:spPr>
          <a:xfrm>
            <a:off x="7183988" y="5364854"/>
            <a:ext cx="981359" cy="11233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 smtClean="0"/>
              <a:t>PickUp</a:t>
            </a:r>
            <a:r>
              <a:rPr lang="en-US" sz="1200" dirty="0" smtClean="0"/>
              <a:t>()</a:t>
            </a:r>
          </a:p>
          <a:p>
            <a:r>
              <a:rPr lang="en-US" sz="1100" i="1" dirty="0" err="1" smtClean="0"/>
              <a:t>PatientId</a:t>
            </a:r>
            <a:endParaRPr lang="en-US" sz="1100" i="1" dirty="0" smtClean="0"/>
          </a:p>
          <a:p>
            <a:r>
              <a:rPr lang="en-US" sz="1100" i="1" dirty="0" err="1" smtClean="0"/>
              <a:t>PrescriptionId</a:t>
            </a:r>
            <a:endParaRPr lang="en-US" sz="1100" i="1" dirty="0" smtClean="0"/>
          </a:p>
          <a:p>
            <a:r>
              <a:rPr lang="en-US" sz="1100" i="1" dirty="0" err="1" smtClean="0"/>
              <a:t>BidId</a:t>
            </a:r>
            <a:endParaRPr lang="en-US" sz="1100" i="1" dirty="0" smtClean="0"/>
          </a:p>
          <a:p>
            <a:r>
              <a:rPr lang="en-US" sz="1100" i="1" dirty="0" err="1" smtClean="0"/>
              <a:t>IsAccepted</a:t>
            </a:r>
            <a:endParaRPr lang="en-US" sz="1100" i="1" dirty="0" smtClean="0"/>
          </a:p>
          <a:p>
            <a:r>
              <a:rPr lang="en-US" sz="1100" i="1" dirty="0" err="1" smtClean="0"/>
              <a:t>IsPickedUp</a:t>
            </a:r>
            <a:endParaRPr lang="en-US" sz="1100" i="1" dirty="0"/>
          </a:p>
        </p:txBody>
      </p:sp>
      <p:grpSp>
        <p:nvGrpSpPr>
          <p:cNvPr id="694" name="Group 693"/>
          <p:cNvGrpSpPr/>
          <p:nvPr/>
        </p:nvGrpSpPr>
        <p:grpSpPr>
          <a:xfrm>
            <a:off x="6373975" y="4564259"/>
            <a:ext cx="863547" cy="740074"/>
            <a:chOff x="10565911" y="2219026"/>
            <a:chExt cx="863547" cy="740074"/>
          </a:xfrm>
        </p:grpSpPr>
        <p:grpSp>
          <p:nvGrpSpPr>
            <p:cNvPr id="695" name="Group 694"/>
            <p:cNvGrpSpPr/>
            <p:nvPr/>
          </p:nvGrpSpPr>
          <p:grpSpPr>
            <a:xfrm>
              <a:off x="10565911" y="2219026"/>
              <a:ext cx="476656" cy="740074"/>
              <a:chOff x="7913883" y="3501752"/>
              <a:chExt cx="476656" cy="740074"/>
            </a:xfrm>
          </p:grpSpPr>
          <p:grpSp>
            <p:nvGrpSpPr>
              <p:cNvPr id="697" name="Document2"/>
              <p:cNvGrpSpPr>
                <a:grpSpLocks noChangeAspect="1"/>
              </p:cNvGrpSpPr>
              <p:nvPr>
                <p:custDataLst>
                  <p:tags r:id="rId13"/>
                </p:custDataLst>
              </p:nvPr>
            </p:nvGrpSpPr>
            <p:grpSpPr bwMode="auto">
              <a:xfrm>
                <a:off x="7913883" y="3501752"/>
                <a:ext cx="414049" cy="542925"/>
                <a:chOff x="176" y="141"/>
                <a:chExt cx="151" cy="198"/>
              </a:xfrm>
              <a:solidFill>
                <a:schemeClr val="accent1"/>
              </a:solidFill>
            </p:grpSpPr>
            <p:sp>
              <p:nvSpPr>
                <p:cNvPr id="702" name="Document2"/>
                <p:cNvSpPr>
                  <a:spLocks noEditPoints="1"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176" y="141"/>
                  <a:ext cx="151" cy="198"/>
                </a:xfrm>
                <a:custGeom>
                  <a:avLst/>
                  <a:gdLst>
                    <a:gd name="T0" fmla="*/ 388 w 401"/>
                    <a:gd name="T1" fmla="*/ 525 h 525"/>
                    <a:gd name="T2" fmla="*/ 13 w 401"/>
                    <a:gd name="T3" fmla="*/ 525 h 525"/>
                    <a:gd name="T4" fmla="*/ 0 w 401"/>
                    <a:gd name="T5" fmla="*/ 512 h 525"/>
                    <a:gd name="T6" fmla="*/ 0 w 401"/>
                    <a:gd name="T7" fmla="*/ 12 h 525"/>
                    <a:gd name="T8" fmla="*/ 13 w 401"/>
                    <a:gd name="T9" fmla="*/ 0 h 525"/>
                    <a:gd name="T10" fmla="*/ 388 w 401"/>
                    <a:gd name="T11" fmla="*/ 0 h 525"/>
                    <a:gd name="T12" fmla="*/ 401 w 401"/>
                    <a:gd name="T13" fmla="*/ 12 h 525"/>
                    <a:gd name="T14" fmla="*/ 401 w 401"/>
                    <a:gd name="T15" fmla="*/ 512 h 525"/>
                    <a:gd name="T16" fmla="*/ 388 w 401"/>
                    <a:gd name="T17" fmla="*/ 525 h 525"/>
                    <a:gd name="T18" fmla="*/ 25 w 401"/>
                    <a:gd name="T19" fmla="*/ 500 h 525"/>
                    <a:gd name="T20" fmla="*/ 376 w 401"/>
                    <a:gd name="T21" fmla="*/ 500 h 525"/>
                    <a:gd name="T22" fmla="*/ 376 w 401"/>
                    <a:gd name="T23" fmla="*/ 25 h 525"/>
                    <a:gd name="T24" fmla="*/ 25 w 401"/>
                    <a:gd name="T25" fmla="*/ 25 h 525"/>
                    <a:gd name="T26" fmla="*/ 25 w 401"/>
                    <a:gd name="T27" fmla="*/ 500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1" h="525">
                      <a:moveTo>
                        <a:pt x="388" y="525"/>
                      </a:moveTo>
                      <a:lnTo>
                        <a:pt x="13" y="525"/>
                      </a:lnTo>
                      <a:cubicBezTo>
                        <a:pt x="5" y="525"/>
                        <a:pt x="0" y="520"/>
                        <a:pt x="0" y="512"/>
                      </a:cubicBezTo>
                      <a:lnTo>
                        <a:pt x="0" y="12"/>
                      </a:lnTo>
                      <a:cubicBezTo>
                        <a:pt x="0" y="5"/>
                        <a:pt x="5" y="0"/>
                        <a:pt x="13" y="0"/>
                      </a:cubicBezTo>
                      <a:lnTo>
                        <a:pt x="388" y="0"/>
                      </a:lnTo>
                      <a:cubicBezTo>
                        <a:pt x="395" y="0"/>
                        <a:pt x="401" y="5"/>
                        <a:pt x="401" y="12"/>
                      </a:cubicBezTo>
                      <a:lnTo>
                        <a:pt x="401" y="512"/>
                      </a:lnTo>
                      <a:cubicBezTo>
                        <a:pt x="401" y="520"/>
                        <a:pt x="394" y="525"/>
                        <a:pt x="388" y="525"/>
                      </a:cubicBezTo>
                      <a:close/>
                      <a:moveTo>
                        <a:pt x="25" y="500"/>
                      </a:moveTo>
                      <a:lnTo>
                        <a:pt x="376" y="500"/>
                      </a:lnTo>
                      <a:lnTo>
                        <a:pt x="376" y="25"/>
                      </a:lnTo>
                      <a:lnTo>
                        <a:pt x="25" y="25"/>
                      </a:lnTo>
                      <a:lnTo>
                        <a:pt x="25" y="50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3" name="Document2"/>
                <p:cNvSpPr>
                  <a:spLocks noChangeArrowheads="1"/>
                </p:cNvSpPr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205" y="239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4" name="Document2"/>
                <p:cNvSpPr>
                  <a:spLocks noChangeArrowheads="1"/>
                </p:cNvSpPr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205" y="267"/>
                  <a:ext cx="94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5" name="Document2"/>
                <p:cNvSpPr>
                  <a:spLocks noChangeArrowheads="1"/>
                </p:cNvSpPr>
                <p:nvPr>
                  <p:custDataLst>
                    <p:tags r:id="rId18"/>
                  </p:custDataLst>
                </p:nvPr>
              </p:nvSpPr>
              <p:spPr bwMode="auto">
                <a:xfrm>
                  <a:off x="205" y="295"/>
                  <a:ext cx="94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6" name="Document2"/>
                <p:cNvSpPr>
                  <a:spLocks noChangeArrowheads="1"/>
                </p:cNvSpPr>
                <p:nvPr>
                  <p:custDataLst>
                    <p:tags r:id="rId19"/>
                  </p:custDataLst>
                </p:nvPr>
              </p:nvSpPr>
              <p:spPr bwMode="auto">
                <a:xfrm>
                  <a:off x="252" y="182"/>
                  <a:ext cx="47" cy="1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7" name="Document2"/>
                <p:cNvSpPr>
                  <a:spLocks noChangeArrowheads="1"/>
                </p:cNvSpPr>
                <p:nvPr>
                  <p:custDataLst>
                    <p:tags r:id="rId20"/>
                  </p:custDataLst>
                </p:nvPr>
              </p:nvSpPr>
              <p:spPr bwMode="auto">
                <a:xfrm>
                  <a:off x="252" y="211"/>
                  <a:ext cx="47" cy="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8" name="Document2"/>
                <p:cNvSpPr>
                  <a:spLocks/>
                </p:cNvSpPr>
                <p:nvPr>
                  <p:custDataLst>
                    <p:tags r:id="rId21"/>
                  </p:custDataLst>
                </p:nvPr>
              </p:nvSpPr>
              <p:spPr bwMode="auto">
                <a:xfrm>
                  <a:off x="206" y="182"/>
                  <a:ext cx="36" cy="37"/>
                </a:xfrm>
                <a:custGeom>
                  <a:avLst/>
                  <a:gdLst>
                    <a:gd name="T0" fmla="*/ 49 w 98"/>
                    <a:gd name="T1" fmla="*/ 97 h 97"/>
                    <a:gd name="T2" fmla="*/ 49 w 98"/>
                    <a:gd name="T3" fmla="*/ 97 h 97"/>
                    <a:gd name="T4" fmla="*/ 0 w 98"/>
                    <a:gd name="T5" fmla="*/ 48 h 97"/>
                    <a:gd name="T6" fmla="*/ 0 w 98"/>
                    <a:gd name="T7" fmla="*/ 48 h 97"/>
                    <a:gd name="T8" fmla="*/ 49 w 98"/>
                    <a:gd name="T9" fmla="*/ 0 h 97"/>
                    <a:gd name="T10" fmla="*/ 49 w 98"/>
                    <a:gd name="T11" fmla="*/ 0 h 97"/>
                    <a:gd name="T12" fmla="*/ 98 w 98"/>
                    <a:gd name="T13" fmla="*/ 48 h 97"/>
                    <a:gd name="T14" fmla="*/ 98 w 98"/>
                    <a:gd name="T15" fmla="*/ 48 h 97"/>
                    <a:gd name="T16" fmla="*/ 49 w 98"/>
                    <a:gd name="T17" fmla="*/ 97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8" h="97">
                      <a:moveTo>
                        <a:pt x="49" y="97"/>
                      </a:moveTo>
                      <a:lnTo>
                        <a:pt x="49" y="97"/>
                      </a:lnTo>
                      <a:cubicBezTo>
                        <a:pt x="22" y="97"/>
                        <a:pt x="0" y="75"/>
                        <a:pt x="0" y="48"/>
                      </a:cubicBezTo>
                      <a:lnTo>
                        <a:pt x="0" y="48"/>
                      </a:lnTo>
                      <a:cubicBezTo>
                        <a:pt x="0" y="21"/>
                        <a:pt x="23" y="0"/>
                        <a:pt x="49" y="0"/>
                      </a:cubicBezTo>
                      <a:lnTo>
                        <a:pt x="49" y="0"/>
                      </a:lnTo>
                      <a:cubicBezTo>
                        <a:pt x="77" y="0"/>
                        <a:pt x="98" y="22"/>
                        <a:pt x="98" y="48"/>
                      </a:cubicBezTo>
                      <a:lnTo>
                        <a:pt x="98" y="48"/>
                      </a:lnTo>
                      <a:cubicBezTo>
                        <a:pt x="98" y="76"/>
                        <a:pt x="77" y="97"/>
                        <a:pt x="49" y="97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698" name="Award"/>
              <p:cNvGrpSpPr>
                <a:grpSpLocks noChangeAspect="1"/>
              </p:cNvGrpSpPr>
              <p:nvPr>
                <p:custDataLst>
                  <p:tags r:id="rId14"/>
                </p:custDataLst>
              </p:nvPr>
            </p:nvGrpSpPr>
            <p:grpSpPr>
              <a:xfrm>
                <a:off x="8124621" y="3822850"/>
                <a:ext cx="265918" cy="418976"/>
                <a:chOff x="5941649" y="3440456"/>
                <a:chExt cx="2051465" cy="3232250"/>
              </a:xfrm>
              <a:solidFill>
                <a:schemeClr val="accent1"/>
              </a:solidFill>
            </p:grpSpPr>
            <p:sp>
              <p:nvSpPr>
                <p:cNvPr id="699" name="Freeform: Shape 683"/>
                <p:cNvSpPr>
                  <a:spLocks/>
                </p:cNvSpPr>
                <p:nvPr/>
              </p:nvSpPr>
              <p:spPr bwMode="auto">
                <a:xfrm>
                  <a:off x="5941649" y="3440456"/>
                  <a:ext cx="2051465" cy="2053850"/>
                </a:xfrm>
                <a:custGeom>
                  <a:avLst/>
                  <a:gdLst>
                    <a:gd name="connsiteX0" fmla="*/ 999938 w 2051465"/>
                    <a:gd name="connsiteY0" fmla="*/ 1647136 h 2053850"/>
                    <a:gd name="connsiteX1" fmla="*/ 1004820 w 2051465"/>
                    <a:gd name="connsiteY1" fmla="*/ 1675527 h 2053850"/>
                    <a:gd name="connsiteX2" fmla="*/ 983988 w 2051465"/>
                    <a:gd name="connsiteY2" fmla="*/ 1695690 h 2053850"/>
                    <a:gd name="connsiteX3" fmla="*/ 1012795 w 2051465"/>
                    <a:gd name="connsiteY3" fmla="*/ 1699884 h 2053850"/>
                    <a:gd name="connsiteX4" fmla="*/ 1025815 w 2051465"/>
                    <a:gd name="connsiteY4" fmla="*/ 1725855 h 2053850"/>
                    <a:gd name="connsiteX5" fmla="*/ 1038672 w 2051465"/>
                    <a:gd name="connsiteY5" fmla="*/ 1699884 h 2053850"/>
                    <a:gd name="connsiteX6" fmla="*/ 1067478 w 2051465"/>
                    <a:gd name="connsiteY6" fmla="*/ 1695690 h 2053850"/>
                    <a:gd name="connsiteX7" fmla="*/ 1046646 w 2051465"/>
                    <a:gd name="connsiteY7" fmla="*/ 1675527 h 2053850"/>
                    <a:gd name="connsiteX8" fmla="*/ 1051529 w 2051465"/>
                    <a:gd name="connsiteY8" fmla="*/ 1647136 h 2053850"/>
                    <a:gd name="connsiteX9" fmla="*/ 1025815 w 2051465"/>
                    <a:gd name="connsiteY9" fmla="*/ 1660525 h 2053850"/>
                    <a:gd name="connsiteX10" fmla="*/ 1158095 w 2051465"/>
                    <a:gd name="connsiteY10" fmla="*/ 1634016 h 2053850"/>
                    <a:gd name="connsiteX11" fmla="*/ 1135334 w 2051465"/>
                    <a:gd name="connsiteY11" fmla="*/ 1651418 h 2053850"/>
                    <a:gd name="connsiteX12" fmla="*/ 1108086 w 2051465"/>
                    <a:gd name="connsiteY12" fmla="*/ 1642797 h 2053850"/>
                    <a:gd name="connsiteX13" fmla="*/ 1117703 w 2051465"/>
                    <a:gd name="connsiteY13" fmla="*/ 1669779 h 2053850"/>
                    <a:gd name="connsiteX14" fmla="*/ 1100873 w 2051465"/>
                    <a:gd name="connsiteY14" fmla="*/ 1692928 h 2053850"/>
                    <a:gd name="connsiteX15" fmla="*/ 1129724 w 2051465"/>
                    <a:gd name="connsiteY15" fmla="*/ 1692130 h 2053850"/>
                    <a:gd name="connsiteX16" fmla="*/ 1146715 w 2051465"/>
                    <a:gd name="connsiteY16" fmla="*/ 1715120 h 2053850"/>
                    <a:gd name="connsiteX17" fmla="*/ 1154729 w 2051465"/>
                    <a:gd name="connsiteY17" fmla="*/ 1687660 h 2053850"/>
                    <a:gd name="connsiteX18" fmla="*/ 1181977 w 2051465"/>
                    <a:gd name="connsiteY18" fmla="*/ 1678719 h 2053850"/>
                    <a:gd name="connsiteX19" fmla="*/ 1158255 w 2051465"/>
                    <a:gd name="connsiteY19" fmla="*/ 1662594 h 2053850"/>
                    <a:gd name="connsiteX20" fmla="*/ 892528 w 2051465"/>
                    <a:gd name="connsiteY20" fmla="*/ 1634016 h 2053850"/>
                    <a:gd name="connsiteX21" fmla="*/ 892365 w 2051465"/>
                    <a:gd name="connsiteY21" fmla="*/ 1662594 h 2053850"/>
                    <a:gd name="connsiteX22" fmla="*/ 868294 w 2051465"/>
                    <a:gd name="connsiteY22" fmla="*/ 1678719 h 2053850"/>
                    <a:gd name="connsiteX23" fmla="*/ 895943 w 2051465"/>
                    <a:gd name="connsiteY23" fmla="*/ 1687660 h 2053850"/>
                    <a:gd name="connsiteX24" fmla="*/ 904076 w 2051465"/>
                    <a:gd name="connsiteY24" fmla="*/ 1715120 h 2053850"/>
                    <a:gd name="connsiteX25" fmla="*/ 921316 w 2051465"/>
                    <a:gd name="connsiteY25" fmla="*/ 1692130 h 2053850"/>
                    <a:gd name="connsiteX26" fmla="*/ 950591 w 2051465"/>
                    <a:gd name="connsiteY26" fmla="*/ 1692928 h 2053850"/>
                    <a:gd name="connsiteX27" fmla="*/ 933514 w 2051465"/>
                    <a:gd name="connsiteY27" fmla="*/ 1669779 h 2053850"/>
                    <a:gd name="connsiteX28" fmla="*/ 943272 w 2051465"/>
                    <a:gd name="connsiteY28" fmla="*/ 1642797 h 2053850"/>
                    <a:gd name="connsiteX29" fmla="*/ 915623 w 2051465"/>
                    <a:gd name="connsiteY29" fmla="*/ 1651418 h 2053850"/>
                    <a:gd name="connsiteX30" fmla="*/ 1261194 w 2051465"/>
                    <a:gd name="connsiteY30" fmla="*/ 1600620 h 2053850"/>
                    <a:gd name="connsiteX31" fmla="*/ 1241782 w 2051465"/>
                    <a:gd name="connsiteY31" fmla="*/ 1622103 h 2053850"/>
                    <a:gd name="connsiteX32" fmla="*/ 1212988 w 2051465"/>
                    <a:gd name="connsiteY32" fmla="*/ 1618197 h 2053850"/>
                    <a:gd name="connsiteX33" fmla="*/ 1227385 w 2051465"/>
                    <a:gd name="connsiteY33" fmla="*/ 1643586 h 2053850"/>
                    <a:gd name="connsiteX34" fmla="*/ 1214768 w 2051465"/>
                    <a:gd name="connsiteY34" fmla="*/ 1669951 h 2053850"/>
                    <a:gd name="connsiteX35" fmla="*/ 1243238 w 2051465"/>
                    <a:gd name="connsiteY35" fmla="*/ 1663929 h 2053850"/>
                    <a:gd name="connsiteX36" fmla="*/ 1264106 w 2051465"/>
                    <a:gd name="connsiteY36" fmla="*/ 1684110 h 2053850"/>
                    <a:gd name="connsiteX37" fmla="*/ 1267341 w 2051465"/>
                    <a:gd name="connsiteY37" fmla="*/ 1655141 h 2053850"/>
                    <a:gd name="connsiteX38" fmla="*/ 1292900 w 2051465"/>
                    <a:gd name="connsiteY38" fmla="*/ 1641307 h 2053850"/>
                    <a:gd name="connsiteX39" fmla="*/ 1266371 w 2051465"/>
                    <a:gd name="connsiteY39" fmla="*/ 1629264 h 2053850"/>
                    <a:gd name="connsiteX40" fmla="*/ 789798 w 2051465"/>
                    <a:gd name="connsiteY40" fmla="*/ 1600620 h 2053850"/>
                    <a:gd name="connsiteX41" fmla="*/ 784699 w 2051465"/>
                    <a:gd name="connsiteY41" fmla="*/ 1629264 h 2053850"/>
                    <a:gd name="connsiteX42" fmla="*/ 758565 w 2051465"/>
                    <a:gd name="connsiteY42" fmla="*/ 1641307 h 2053850"/>
                    <a:gd name="connsiteX43" fmla="*/ 783743 w 2051465"/>
                    <a:gd name="connsiteY43" fmla="*/ 1655141 h 2053850"/>
                    <a:gd name="connsiteX44" fmla="*/ 786930 w 2051465"/>
                    <a:gd name="connsiteY44" fmla="*/ 1684110 h 2053850"/>
                    <a:gd name="connsiteX45" fmla="*/ 807486 w 2051465"/>
                    <a:gd name="connsiteY45" fmla="*/ 1663929 h 2053850"/>
                    <a:gd name="connsiteX46" fmla="*/ 835531 w 2051465"/>
                    <a:gd name="connsiteY46" fmla="*/ 1669951 h 2053850"/>
                    <a:gd name="connsiteX47" fmla="*/ 823102 w 2051465"/>
                    <a:gd name="connsiteY47" fmla="*/ 1643586 h 2053850"/>
                    <a:gd name="connsiteX48" fmla="*/ 837284 w 2051465"/>
                    <a:gd name="connsiteY48" fmla="*/ 1618197 h 2053850"/>
                    <a:gd name="connsiteX49" fmla="*/ 808920 w 2051465"/>
                    <a:gd name="connsiteY49" fmla="*/ 1622103 h 2053850"/>
                    <a:gd name="connsiteX50" fmla="*/ 1357465 w 2051465"/>
                    <a:gd name="connsiteY50" fmla="*/ 1551719 h 2053850"/>
                    <a:gd name="connsiteX51" fmla="*/ 1342004 w 2051465"/>
                    <a:gd name="connsiteY51" fmla="*/ 1576277 h 2053850"/>
                    <a:gd name="connsiteX52" fmla="*/ 1313176 w 2051465"/>
                    <a:gd name="connsiteY52" fmla="*/ 1577408 h 2053850"/>
                    <a:gd name="connsiteX53" fmla="*/ 1331697 w 2051465"/>
                    <a:gd name="connsiteY53" fmla="*/ 1599703 h 2053850"/>
                    <a:gd name="connsiteX54" fmla="*/ 1323806 w 2051465"/>
                    <a:gd name="connsiteY54" fmla="*/ 1627492 h 2053850"/>
                    <a:gd name="connsiteX55" fmla="*/ 1350701 w 2051465"/>
                    <a:gd name="connsiteY55" fmla="*/ 1616829 h 2053850"/>
                    <a:gd name="connsiteX56" fmla="*/ 1374698 w 2051465"/>
                    <a:gd name="connsiteY56" fmla="*/ 1632823 h 2053850"/>
                    <a:gd name="connsiteX57" fmla="*/ 1372765 w 2051465"/>
                    <a:gd name="connsiteY57" fmla="*/ 1603904 h 2053850"/>
                    <a:gd name="connsiteX58" fmla="*/ 1395473 w 2051465"/>
                    <a:gd name="connsiteY58" fmla="*/ 1585970 h 2053850"/>
                    <a:gd name="connsiteX59" fmla="*/ 1367450 w 2051465"/>
                    <a:gd name="connsiteY59" fmla="*/ 1578862 h 2053850"/>
                    <a:gd name="connsiteX60" fmla="*/ 694000 w 2051465"/>
                    <a:gd name="connsiteY60" fmla="*/ 1551719 h 2053850"/>
                    <a:gd name="connsiteX61" fmla="*/ 684015 w 2051465"/>
                    <a:gd name="connsiteY61" fmla="*/ 1578862 h 2053850"/>
                    <a:gd name="connsiteX62" fmla="*/ 655992 w 2051465"/>
                    <a:gd name="connsiteY62" fmla="*/ 1585970 h 2053850"/>
                    <a:gd name="connsiteX63" fmla="*/ 678700 w 2051465"/>
                    <a:gd name="connsiteY63" fmla="*/ 1603904 h 2053850"/>
                    <a:gd name="connsiteX64" fmla="*/ 676768 w 2051465"/>
                    <a:gd name="connsiteY64" fmla="*/ 1632823 h 2053850"/>
                    <a:gd name="connsiteX65" fmla="*/ 700764 w 2051465"/>
                    <a:gd name="connsiteY65" fmla="*/ 1616829 h 2053850"/>
                    <a:gd name="connsiteX66" fmla="*/ 727660 w 2051465"/>
                    <a:gd name="connsiteY66" fmla="*/ 1627492 h 2053850"/>
                    <a:gd name="connsiteX67" fmla="*/ 719768 w 2051465"/>
                    <a:gd name="connsiteY67" fmla="*/ 1599703 h 2053850"/>
                    <a:gd name="connsiteX68" fmla="*/ 738289 w 2051465"/>
                    <a:gd name="connsiteY68" fmla="*/ 1577408 h 2053850"/>
                    <a:gd name="connsiteX69" fmla="*/ 709461 w 2051465"/>
                    <a:gd name="connsiteY69" fmla="*/ 1576277 h 2053850"/>
                    <a:gd name="connsiteX70" fmla="*/ 1442881 w 2051465"/>
                    <a:gd name="connsiteY70" fmla="*/ 1486119 h 2053850"/>
                    <a:gd name="connsiteX71" fmla="*/ 1431951 w 2051465"/>
                    <a:gd name="connsiteY71" fmla="*/ 1512757 h 2053850"/>
                    <a:gd name="connsiteX72" fmla="*/ 1403822 w 2051465"/>
                    <a:gd name="connsiteY72" fmla="*/ 1518854 h 2053850"/>
                    <a:gd name="connsiteX73" fmla="*/ 1425843 w 2051465"/>
                    <a:gd name="connsiteY73" fmla="*/ 1537468 h 2053850"/>
                    <a:gd name="connsiteX74" fmla="*/ 1422950 w 2051465"/>
                    <a:gd name="connsiteY74" fmla="*/ 1566031 h 2053850"/>
                    <a:gd name="connsiteX75" fmla="*/ 1447382 w 2051465"/>
                    <a:gd name="connsiteY75" fmla="*/ 1550947 h 2053850"/>
                    <a:gd name="connsiteX76" fmla="*/ 1473743 w 2051465"/>
                    <a:gd name="connsiteY76" fmla="*/ 1562501 h 2053850"/>
                    <a:gd name="connsiteX77" fmla="*/ 1466992 w 2051465"/>
                    <a:gd name="connsiteY77" fmla="*/ 1534580 h 2053850"/>
                    <a:gd name="connsiteX78" fmla="*/ 1486119 w 2051465"/>
                    <a:gd name="connsiteY78" fmla="*/ 1513078 h 2053850"/>
                    <a:gd name="connsiteX79" fmla="*/ 1457347 w 2051465"/>
                    <a:gd name="connsiteY79" fmla="*/ 1510831 h 2053850"/>
                    <a:gd name="connsiteX80" fmla="*/ 607391 w 2051465"/>
                    <a:gd name="connsiteY80" fmla="*/ 1486119 h 2053850"/>
                    <a:gd name="connsiteX81" fmla="*/ 592925 w 2051465"/>
                    <a:gd name="connsiteY81" fmla="*/ 1510831 h 2053850"/>
                    <a:gd name="connsiteX82" fmla="*/ 564153 w 2051465"/>
                    <a:gd name="connsiteY82" fmla="*/ 1513078 h 2053850"/>
                    <a:gd name="connsiteX83" fmla="*/ 583281 w 2051465"/>
                    <a:gd name="connsiteY83" fmla="*/ 1534580 h 2053850"/>
                    <a:gd name="connsiteX84" fmla="*/ 576530 w 2051465"/>
                    <a:gd name="connsiteY84" fmla="*/ 1562501 h 2053850"/>
                    <a:gd name="connsiteX85" fmla="*/ 602891 w 2051465"/>
                    <a:gd name="connsiteY85" fmla="*/ 1550947 h 2053850"/>
                    <a:gd name="connsiteX86" fmla="*/ 627323 w 2051465"/>
                    <a:gd name="connsiteY86" fmla="*/ 1566031 h 2053850"/>
                    <a:gd name="connsiteX87" fmla="*/ 624429 w 2051465"/>
                    <a:gd name="connsiteY87" fmla="*/ 1537468 h 2053850"/>
                    <a:gd name="connsiteX88" fmla="*/ 646450 w 2051465"/>
                    <a:gd name="connsiteY88" fmla="*/ 1518854 h 2053850"/>
                    <a:gd name="connsiteX89" fmla="*/ 618321 w 2051465"/>
                    <a:gd name="connsiteY89" fmla="*/ 1512757 h 2053850"/>
                    <a:gd name="connsiteX90" fmla="*/ 1516404 w 2051465"/>
                    <a:gd name="connsiteY90" fmla="*/ 1406208 h 2053850"/>
                    <a:gd name="connsiteX91" fmla="*/ 1510318 w 2051465"/>
                    <a:gd name="connsiteY91" fmla="*/ 1434337 h 2053850"/>
                    <a:gd name="connsiteX92" fmla="*/ 1483734 w 2051465"/>
                    <a:gd name="connsiteY92" fmla="*/ 1445267 h 2053850"/>
                    <a:gd name="connsiteX93" fmla="*/ 1508557 w 2051465"/>
                    <a:gd name="connsiteY93" fmla="*/ 1459894 h 2053850"/>
                    <a:gd name="connsiteX94" fmla="*/ 1510799 w 2051465"/>
                    <a:gd name="connsiteY94" fmla="*/ 1488505 h 2053850"/>
                    <a:gd name="connsiteX95" fmla="*/ 1532098 w 2051465"/>
                    <a:gd name="connsiteY95" fmla="*/ 1469378 h 2053850"/>
                    <a:gd name="connsiteX96" fmla="*/ 1560123 w 2051465"/>
                    <a:gd name="connsiteY96" fmla="*/ 1476289 h 2053850"/>
                    <a:gd name="connsiteX97" fmla="*/ 1548593 w 2051465"/>
                    <a:gd name="connsiteY97" fmla="*/ 1449768 h 2053850"/>
                    <a:gd name="connsiteX98" fmla="*/ 1563646 w 2051465"/>
                    <a:gd name="connsiteY98" fmla="*/ 1425336 h 2053850"/>
                    <a:gd name="connsiteX99" fmla="*/ 1534980 w 2051465"/>
                    <a:gd name="connsiteY99" fmla="*/ 1428229 h 2053850"/>
                    <a:gd name="connsiteX100" fmla="*/ 534575 w 2051465"/>
                    <a:gd name="connsiteY100" fmla="*/ 1406208 h 2053850"/>
                    <a:gd name="connsiteX101" fmla="*/ 515721 w 2051465"/>
                    <a:gd name="connsiteY101" fmla="*/ 1428229 h 2053850"/>
                    <a:gd name="connsiteX102" fmla="*/ 486627 w 2051465"/>
                    <a:gd name="connsiteY102" fmla="*/ 1425336 h 2053850"/>
                    <a:gd name="connsiteX103" fmla="*/ 502068 w 2051465"/>
                    <a:gd name="connsiteY103" fmla="*/ 1449768 h 2053850"/>
                    <a:gd name="connsiteX104" fmla="*/ 490203 w 2051465"/>
                    <a:gd name="connsiteY104" fmla="*/ 1476289 h 2053850"/>
                    <a:gd name="connsiteX105" fmla="*/ 518646 w 2051465"/>
                    <a:gd name="connsiteY105" fmla="*/ 1469378 h 2053850"/>
                    <a:gd name="connsiteX106" fmla="*/ 540263 w 2051465"/>
                    <a:gd name="connsiteY106" fmla="*/ 1488505 h 2053850"/>
                    <a:gd name="connsiteX107" fmla="*/ 542539 w 2051465"/>
                    <a:gd name="connsiteY107" fmla="*/ 1459894 h 2053850"/>
                    <a:gd name="connsiteX108" fmla="*/ 567731 w 2051465"/>
                    <a:gd name="connsiteY108" fmla="*/ 1445267 h 2053850"/>
                    <a:gd name="connsiteX109" fmla="*/ 540751 w 2051465"/>
                    <a:gd name="connsiteY109" fmla="*/ 1434337 h 2053850"/>
                    <a:gd name="connsiteX110" fmla="*/ 1575022 w 2051465"/>
                    <a:gd name="connsiteY110" fmla="*/ 1315562 h 2053850"/>
                    <a:gd name="connsiteX111" fmla="*/ 1573729 w 2051465"/>
                    <a:gd name="connsiteY111" fmla="*/ 1344390 h 2053850"/>
                    <a:gd name="connsiteX112" fmla="*/ 1549333 w 2051465"/>
                    <a:gd name="connsiteY112" fmla="*/ 1359851 h 2053850"/>
                    <a:gd name="connsiteX113" fmla="*/ 1576476 w 2051465"/>
                    <a:gd name="connsiteY113" fmla="*/ 1369836 h 2053850"/>
                    <a:gd name="connsiteX114" fmla="*/ 1583584 w 2051465"/>
                    <a:gd name="connsiteY114" fmla="*/ 1397859 h 2053850"/>
                    <a:gd name="connsiteX115" fmla="*/ 1601518 w 2051465"/>
                    <a:gd name="connsiteY115" fmla="*/ 1375151 h 2053850"/>
                    <a:gd name="connsiteX116" fmla="*/ 1630437 w 2051465"/>
                    <a:gd name="connsiteY116" fmla="*/ 1377084 h 2053850"/>
                    <a:gd name="connsiteX117" fmla="*/ 1614443 w 2051465"/>
                    <a:gd name="connsiteY117" fmla="*/ 1353087 h 2053850"/>
                    <a:gd name="connsiteX118" fmla="*/ 1625106 w 2051465"/>
                    <a:gd name="connsiteY118" fmla="*/ 1326192 h 2053850"/>
                    <a:gd name="connsiteX119" fmla="*/ 1597156 w 2051465"/>
                    <a:gd name="connsiteY119" fmla="*/ 1334083 h 2053850"/>
                    <a:gd name="connsiteX120" fmla="*/ 476443 w 2051465"/>
                    <a:gd name="connsiteY120" fmla="*/ 1315562 h 2053850"/>
                    <a:gd name="connsiteX121" fmla="*/ 454309 w 2051465"/>
                    <a:gd name="connsiteY121" fmla="*/ 1334083 h 2053850"/>
                    <a:gd name="connsiteX122" fmla="*/ 426359 w 2051465"/>
                    <a:gd name="connsiteY122" fmla="*/ 1326192 h 2053850"/>
                    <a:gd name="connsiteX123" fmla="*/ 437022 w 2051465"/>
                    <a:gd name="connsiteY123" fmla="*/ 1353087 h 2053850"/>
                    <a:gd name="connsiteX124" fmla="*/ 421027 w 2051465"/>
                    <a:gd name="connsiteY124" fmla="*/ 1377084 h 2053850"/>
                    <a:gd name="connsiteX125" fmla="*/ 449947 w 2051465"/>
                    <a:gd name="connsiteY125" fmla="*/ 1375151 h 2053850"/>
                    <a:gd name="connsiteX126" fmla="*/ 467880 w 2051465"/>
                    <a:gd name="connsiteY126" fmla="*/ 1397859 h 2053850"/>
                    <a:gd name="connsiteX127" fmla="*/ 474989 w 2051465"/>
                    <a:gd name="connsiteY127" fmla="*/ 1369836 h 2053850"/>
                    <a:gd name="connsiteX128" fmla="*/ 502131 w 2051465"/>
                    <a:gd name="connsiteY128" fmla="*/ 1359851 h 2053850"/>
                    <a:gd name="connsiteX129" fmla="*/ 477735 w 2051465"/>
                    <a:gd name="connsiteY129" fmla="*/ 1344390 h 2053850"/>
                    <a:gd name="connsiteX130" fmla="*/ 1615811 w 2051465"/>
                    <a:gd name="connsiteY130" fmla="*/ 1215374 h 2053850"/>
                    <a:gd name="connsiteX131" fmla="*/ 1619717 w 2051465"/>
                    <a:gd name="connsiteY131" fmla="*/ 1244168 h 2053850"/>
                    <a:gd name="connsiteX132" fmla="*/ 1598234 w 2051465"/>
                    <a:gd name="connsiteY132" fmla="*/ 1263580 h 2053850"/>
                    <a:gd name="connsiteX133" fmla="*/ 1626878 w 2051465"/>
                    <a:gd name="connsiteY133" fmla="*/ 1268757 h 2053850"/>
                    <a:gd name="connsiteX134" fmla="*/ 1638921 w 2051465"/>
                    <a:gd name="connsiteY134" fmla="*/ 1295286 h 2053850"/>
                    <a:gd name="connsiteX135" fmla="*/ 1652755 w 2051465"/>
                    <a:gd name="connsiteY135" fmla="*/ 1269727 h 2053850"/>
                    <a:gd name="connsiteX136" fmla="*/ 1681724 w 2051465"/>
                    <a:gd name="connsiteY136" fmla="*/ 1266492 h 2053850"/>
                    <a:gd name="connsiteX137" fmla="*/ 1661543 w 2051465"/>
                    <a:gd name="connsiteY137" fmla="*/ 1245624 h 2053850"/>
                    <a:gd name="connsiteX138" fmla="*/ 1667402 w 2051465"/>
                    <a:gd name="connsiteY138" fmla="*/ 1217154 h 2053850"/>
                    <a:gd name="connsiteX139" fmla="*/ 1641200 w 2051465"/>
                    <a:gd name="connsiteY139" fmla="*/ 1229771 h 2053850"/>
                    <a:gd name="connsiteX140" fmla="*/ 434713 w 2051465"/>
                    <a:gd name="connsiteY140" fmla="*/ 1215374 h 2053850"/>
                    <a:gd name="connsiteX141" fmla="*/ 409687 w 2051465"/>
                    <a:gd name="connsiteY141" fmla="*/ 1229771 h 2053850"/>
                    <a:gd name="connsiteX142" fmla="*/ 383858 w 2051465"/>
                    <a:gd name="connsiteY142" fmla="*/ 1217154 h 2053850"/>
                    <a:gd name="connsiteX143" fmla="*/ 389634 w 2051465"/>
                    <a:gd name="connsiteY143" fmla="*/ 1245624 h 2053850"/>
                    <a:gd name="connsiteX144" fmla="*/ 369741 w 2051465"/>
                    <a:gd name="connsiteY144" fmla="*/ 1266492 h 2053850"/>
                    <a:gd name="connsiteX145" fmla="*/ 398297 w 2051465"/>
                    <a:gd name="connsiteY145" fmla="*/ 1269727 h 2053850"/>
                    <a:gd name="connsiteX146" fmla="*/ 411932 w 2051465"/>
                    <a:gd name="connsiteY146" fmla="*/ 1295286 h 2053850"/>
                    <a:gd name="connsiteX147" fmla="*/ 423804 w 2051465"/>
                    <a:gd name="connsiteY147" fmla="*/ 1268757 h 2053850"/>
                    <a:gd name="connsiteX148" fmla="*/ 452038 w 2051465"/>
                    <a:gd name="connsiteY148" fmla="*/ 1263580 h 2053850"/>
                    <a:gd name="connsiteX149" fmla="*/ 430862 w 2051465"/>
                    <a:gd name="connsiteY149" fmla="*/ 1244168 h 2053850"/>
                    <a:gd name="connsiteX150" fmla="*/ 1690261 w 2051465"/>
                    <a:gd name="connsiteY150" fmla="*/ 1102066 h 2053850"/>
                    <a:gd name="connsiteX151" fmla="*/ 1666655 w 2051465"/>
                    <a:gd name="connsiteY151" fmla="*/ 1119015 h 2053850"/>
                    <a:gd name="connsiteX152" fmla="*/ 1639493 w 2051465"/>
                    <a:gd name="connsiteY152" fmla="*/ 1109237 h 2053850"/>
                    <a:gd name="connsiteX153" fmla="*/ 1648223 w 2051465"/>
                    <a:gd name="connsiteY153" fmla="*/ 1137104 h 2053850"/>
                    <a:gd name="connsiteX154" fmla="*/ 1630438 w 2051465"/>
                    <a:gd name="connsiteY154" fmla="*/ 1160082 h 2053850"/>
                    <a:gd name="connsiteX155" fmla="*/ 1659541 w 2051465"/>
                    <a:gd name="connsiteY155" fmla="*/ 1160245 h 2053850"/>
                    <a:gd name="connsiteX156" fmla="*/ 1675871 w 2051465"/>
                    <a:gd name="connsiteY156" fmla="*/ 1184363 h 2053850"/>
                    <a:gd name="connsiteX157" fmla="*/ 1684926 w 2051465"/>
                    <a:gd name="connsiteY157" fmla="*/ 1156659 h 2053850"/>
                    <a:gd name="connsiteX158" fmla="*/ 1712735 w 2051465"/>
                    <a:gd name="connsiteY158" fmla="*/ 1148511 h 2053850"/>
                    <a:gd name="connsiteX159" fmla="*/ 1689453 w 2051465"/>
                    <a:gd name="connsiteY159" fmla="*/ 1131237 h 2053850"/>
                    <a:gd name="connsiteX160" fmla="*/ 360012 w 2051465"/>
                    <a:gd name="connsiteY160" fmla="*/ 1102066 h 2053850"/>
                    <a:gd name="connsiteX161" fmla="*/ 360821 w 2051465"/>
                    <a:gd name="connsiteY161" fmla="*/ 1131237 h 2053850"/>
                    <a:gd name="connsiteX162" fmla="*/ 337538 w 2051465"/>
                    <a:gd name="connsiteY162" fmla="*/ 1148511 h 2053850"/>
                    <a:gd name="connsiteX163" fmla="*/ 365348 w 2051465"/>
                    <a:gd name="connsiteY163" fmla="*/ 1156659 h 2053850"/>
                    <a:gd name="connsiteX164" fmla="*/ 374402 w 2051465"/>
                    <a:gd name="connsiteY164" fmla="*/ 1184363 h 2053850"/>
                    <a:gd name="connsiteX165" fmla="*/ 390732 w 2051465"/>
                    <a:gd name="connsiteY165" fmla="*/ 1160245 h 2053850"/>
                    <a:gd name="connsiteX166" fmla="*/ 419835 w 2051465"/>
                    <a:gd name="connsiteY166" fmla="*/ 1160082 h 2053850"/>
                    <a:gd name="connsiteX167" fmla="*/ 402050 w 2051465"/>
                    <a:gd name="connsiteY167" fmla="*/ 1137104 h 2053850"/>
                    <a:gd name="connsiteX168" fmla="*/ 410781 w 2051465"/>
                    <a:gd name="connsiteY168" fmla="*/ 1109237 h 2053850"/>
                    <a:gd name="connsiteX169" fmla="*/ 383618 w 2051465"/>
                    <a:gd name="connsiteY169" fmla="*/ 1119015 h 2053850"/>
                    <a:gd name="connsiteX170" fmla="*/ 1693366 w 2051465"/>
                    <a:gd name="connsiteY170" fmla="*/ 985180 h 2053850"/>
                    <a:gd name="connsiteX171" fmla="*/ 1673244 w 2051465"/>
                    <a:gd name="connsiteY171" fmla="*/ 1006012 h 2053850"/>
                    <a:gd name="connsiteX172" fmla="*/ 1644750 w 2051465"/>
                    <a:gd name="connsiteY172" fmla="*/ 1001130 h 2053850"/>
                    <a:gd name="connsiteX173" fmla="*/ 1658273 w 2051465"/>
                    <a:gd name="connsiteY173" fmla="*/ 1027007 h 2053850"/>
                    <a:gd name="connsiteX174" fmla="*/ 1644750 w 2051465"/>
                    <a:gd name="connsiteY174" fmla="*/ 1052721 h 2053850"/>
                    <a:gd name="connsiteX175" fmla="*/ 1673244 w 2051465"/>
                    <a:gd name="connsiteY175" fmla="*/ 1047838 h 2053850"/>
                    <a:gd name="connsiteX176" fmla="*/ 1693366 w 2051465"/>
                    <a:gd name="connsiteY176" fmla="*/ 1068670 h 2053850"/>
                    <a:gd name="connsiteX177" fmla="*/ 1697552 w 2051465"/>
                    <a:gd name="connsiteY177" fmla="*/ 1039864 h 2053850"/>
                    <a:gd name="connsiteX178" fmla="*/ 1723469 w 2051465"/>
                    <a:gd name="connsiteY178" fmla="*/ 1027007 h 2053850"/>
                    <a:gd name="connsiteX179" fmla="*/ 1697552 w 2051465"/>
                    <a:gd name="connsiteY179" fmla="*/ 1013987 h 2053850"/>
                    <a:gd name="connsiteX180" fmla="*/ 357363 w 2051465"/>
                    <a:gd name="connsiteY180" fmla="*/ 985180 h 2053850"/>
                    <a:gd name="connsiteX181" fmla="*/ 353114 w 2051465"/>
                    <a:gd name="connsiteY181" fmla="*/ 1013987 h 2053850"/>
                    <a:gd name="connsiteX182" fmla="*/ 326803 w 2051465"/>
                    <a:gd name="connsiteY182" fmla="*/ 1027007 h 2053850"/>
                    <a:gd name="connsiteX183" fmla="*/ 353114 w 2051465"/>
                    <a:gd name="connsiteY183" fmla="*/ 1039864 h 2053850"/>
                    <a:gd name="connsiteX184" fmla="*/ 357363 w 2051465"/>
                    <a:gd name="connsiteY184" fmla="*/ 1068670 h 2053850"/>
                    <a:gd name="connsiteX185" fmla="*/ 377790 w 2051465"/>
                    <a:gd name="connsiteY185" fmla="*/ 1047838 h 2053850"/>
                    <a:gd name="connsiteX186" fmla="*/ 406715 w 2051465"/>
                    <a:gd name="connsiteY186" fmla="*/ 1052721 h 2053850"/>
                    <a:gd name="connsiteX187" fmla="*/ 392988 w 2051465"/>
                    <a:gd name="connsiteY187" fmla="*/ 1027007 h 2053850"/>
                    <a:gd name="connsiteX188" fmla="*/ 406715 w 2051465"/>
                    <a:gd name="connsiteY188" fmla="*/ 1001130 h 2053850"/>
                    <a:gd name="connsiteX189" fmla="*/ 377790 w 2051465"/>
                    <a:gd name="connsiteY189" fmla="*/ 1006012 h 2053850"/>
                    <a:gd name="connsiteX190" fmla="*/ 1675871 w 2051465"/>
                    <a:gd name="connsiteY190" fmla="*/ 869487 h 2053850"/>
                    <a:gd name="connsiteX191" fmla="*/ 1659541 w 2051465"/>
                    <a:gd name="connsiteY191" fmla="*/ 893558 h 2053850"/>
                    <a:gd name="connsiteX192" fmla="*/ 1630438 w 2051465"/>
                    <a:gd name="connsiteY192" fmla="*/ 893721 h 2053850"/>
                    <a:gd name="connsiteX193" fmla="*/ 1648223 w 2051465"/>
                    <a:gd name="connsiteY193" fmla="*/ 916816 h 2053850"/>
                    <a:gd name="connsiteX194" fmla="*/ 1639493 w 2051465"/>
                    <a:gd name="connsiteY194" fmla="*/ 944628 h 2053850"/>
                    <a:gd name="connsiteX195" fmla="*/ 1666655 w 2051465"/>
                    <a:gd name="connsiteY195" fmla="*/ 934707 h 2053850"/>
                    <a:gd name="connsiteX196" fmla="*/ 1690261 w 2051465"/>
                    <a:gd name="connsiteY196" fmla="*/ 951784 h 2053850"/>
                    <a:gd name="connsiteX197" fmla="*/ 1689453 w 2051465"/>
                    <a:gd name="connsiteY197" fmla="*/ 922509 h 2053850"/>
                    <a:gd name="connsiteX198" fmla="*/ 1712735 w 2051465"/>
                    <a:gd name="connsiteY198" fmla="*/ 905269 h 2053850"/>
                    <a:gd name="connsiteX199" fmla="*/ 1684926 w 2051465"/>
                    <a:gd name="connsiteY199" fmla="*/ 897136 h 2053850"/>
                    <a:gd name="connsiteX200" fmla="*/ 374402 w 2051465"/>
                    <a:gd name="connsiteY200" fmla="*/ 869487 h 2053850"/>
                    <a:gd name="connsiteX201" fmla="*/ 365348 w 2051465"/>
                    <a:gd name="connsiteY201" fmla="*/ 897136 h 2053850"/>
                    <a:gd name="connsiteX202" fmla="*/ 337538 w 2051465"/>
                    <a:gd name="connsiteY202" fmla="*/ 905269 h 2053850"/>
                    <a:gd name="connsiteX203" fmla="*/ 360821 w 2051465"/>
                    <a:gd name="connsiteY203" fmla="*/ 922509 h 2053850"/>
                    <a:gd name="connsiteX204" fmla="*/ 360012 w 2051465"/>
                    <a:gd name="connsiteY204" fmla="*/ 951784 h 2053850"/>
                    <a:gd name="connsiteX205" fmla="*/ 383618 w 2051465"/>
                    <a:gd name="connsiteY205" fmla="*/ 934707 h 2053850"/>
                    <a:gd name="connsiteX206" fmla="*/ 410781 w 2051465"/>
                    <a:gd name="connsiteY206" fmla="*/ 944628 h 2053850"/>
                    <a:gd name="connsiteX207" fmla="*/ 402050 w 2051465"/>
                    <a:gd name="connsiteY207" fmla="*/ 916816 h 2053850"/>
                    <a:gd name="connsiteX208" fmla="*/ 419835 w 2051465"/>
                    <a:gd name="connsiteY208" fmla="*/ 893721 h 2053850"/>
                    <a:gd name="connsiteX209" fmla="*/ 390732 w 2051465"/>
                    <a:gd name="connsiteY209" fmla="*/ 893558 h 2053850"/>
                    <a:gd name="connsiteX210" fmla="*/ 1638921 w 2051465"/>
                    <a:gd name="connsiteY210" fmla="*/ 759758 h 2053850"/>
                    <a:gd name="connsiteX211" fmla="*/ 1626878 w 2051465"/>
                    <a:gd name="connsiteY211" fmla="*/ 785892 h 2053850"/>
                    <a:gd name="connsiteX212" fmla="*/ 1598234 w 2051465"/>
                    <a:gd name="connsiteY212" fmla="*/ 790991 h 2053850"/>
                    <a:gd name="connsiteX213" fmla="*/ 1619717 w 2051465"/>
                    <a:gd name="connsiteY213" fmla="*/ 810272 h 2053850"/>
                    <a:gd name="connsiteX214" fmla="*/ 1615811 w 2051465"/>
                    <a:gd name="connsiteY214" fmla="*/ 838477 h 2053850"/>
                    <a:gd name="connsiteX215" fmla="*/ 1641200 w 2051465"/>
                    <a:gd name="connsiteY215" fmla="*/ 824295 h 2053850"/>
                    <a:gd name="connsiteX216" fmla="*/ 1667402 w 2051465"/>
                    <a:gd name="connsiteY216" fmla="*/ 836724 h 2053850"/>
                    <a:gd name="connsiteX217" fmla="*/ 1661543 w 2051465"/>
                    <a:gd name="connsiteY217" fmla="*/ 808838 h 2053850"/>
                    <a:gd name="connsiteX218" fmla="*/ 1681724 w 2051465"/>
                    <a:gd name="connsiteY218" fmla="*/ 788123 h 2053850"/>
                    <a:gd name="connsiteX219" fmla="*/ 1652755 w 2051465"/>
                    <a:gd name="connsiteY219" fmla="*/ 784936 h 2053850"/>
                    <a:gd name="connsiteX220" fmla="*/ 411932 w 2051465"/>
                    <a:gd name="connsiteY220" fmla="*/ 759758 h 2053850"/>
                    <a:gd name="connsiteX221" fmla="*/ 398297 w 2051465"/>
                    <a:gd name="connsiteY221" fmla="*/ 784936 h 2053850"/>
                    <a:gd name="connsiteX222" fmla="*/ 369741 w 2051465"/>
                    <a:gd name="connsiteY222" fmla="*/ 788123 h 2053850"/>
                    <a:gd name="connsiteX223" fmla="*/ 389634 w 2051465"/>
                    <a:gd name="connsiteY223" fmla="*/ 808838 h 2053850"/>
                    <a:gd name="connsiteX224" fmla="*/ 383858 w 2051465"/>
                    <a:gd name="connsiteY224" fmla="*/ 836724 h 2053850"/>
                    <a:gd name="connsiteX225" fmla="*/ 409687 w 2051465"/>
                    <a:gd name="connsiteY225" fmla="*/ 824295 h 2053850"/>
                    <a:gd name="connsiteX226" fmla="*/ 434713 w 2051465"/>
                    <a:gd name="connsiteY226" fmla="*/ 838477 h 2053850"/>
                    <a:gd name="connsiteX227" fmla="*/ 430862 w 2051465"/>
                    <a:gd name="connsiteY227" fmla="*/ 810272 h 2053850"/>
                    <a:gd name="connsiteX228" fmla="*/ 452038 w 2051465"/>
                    <a:gd name="connsiteY228" fmla="*/ 790991 h 2053850"/>
                    <a:gd name="connsiteX229" fmla="*/ 423804 w 2051465"/>
                    <a:gd name="connsiteY229" fmla="*/ 785892 h 2053850"/>
                    <a:gd name="connsiteX230" fmla="*/ 1583584 w 2051465"/>
                    <a:gd name="connsiteY230" fmla="*/ 655992 h 2053850"/>
                    <a:gd name="connsiteX231" fmla="*/ 1576476 w 2051465"/>
                    <a:gd name="connsiteY231" fmla="*/ 684421 h 2053850"/>
                    <a:gd name="connsiteX232" fmla="*/ 1549333 w 2051465"/>
                    <a:gd name="connsiteY232" fmla="*/ 694551 h 2053850"/>
                    <a:gd name="connsiteX233" fmla="*/ 1573729 w 2051465"/>
                    <a:gd name="connsiteY233" fmla="*/ 710236 h 2053850"/>
                    <a:gd name="connsiteX234" fmla="*/ 1575022 w 2051465"/>
                    <a:gd name="connsiteY234" fmla="*/ 739482 h 2053850"/>
                    <a:gd name="connsiteX235" fmla="*/ 1597156 w 2051465"/>
                    <a:gd name="connsiteY235" fmla="*/ 720856 h 2053850"/>
                    <a:gd name="connsiteX236" fmla="*/ 1625106 w 2051465"/>
                    <a:gd name="connsiteY236" fmla="*/ 728699 h 2053850"/>
                    <a:gd name="connsiteX237" fmla="*/ 1614443 w 2051465"/>
                    <a:gd name="connsiteY237" fmla="*/ 701577 h 2053850"/>
                    <a:gd name="connsiteX238" fmla="*/ 1630437 w 2051465"/>
                    <a:gd name="connsiteY238" fmla="*/ 677232 h 2053850"/>
                    <a:gd name="connsiteX239" fmla="*/ 1601518 w 2051465"/>
                    <a:gd name="connsiteY239" fmla="*/ 679029 h 2053850"/>
                    <a:gd name="connsiteX240" fmla="*/ 467880 w 2051465"/>
                    <a:gd name="connsiteY240" fmla="*/ 655992 h 2053850"/>
                    <a:gd name="connsiteX241" fmla="*/ 449947 w 2051465"/>
                    <a:gd name="connsiteY241" fmla="*/ 679029 h 2053850"/>
                    <a:gd name="connsiteX242" fmla="*/ 421027 w 2051465"/>
                    <a:gd name="connsiteY242" fmla="*/ 677232 h 2053850"/>
                    <a:gd name="connsiteX243" fmla="*/ 437022 w 2051465"/>
                    <a:gd name="connsiteY243" fmla="*/ 701577 h 2053850"/>
                    <a:gd name="connsiteX244" fmla="*/ 426359 w 2051465"/>
                    <a:gd name="connsiteY244" fmla="*/ 728699 h 2053850"/>
                    <a:gd name="connsiteX245" fmla="*/ 454309 w 2051465"/>
                    <a:gd name="connsiteY245" fmla="*/ 720856 h 2053850"/>
                    <a:gd name="connsiteX246" fmla="*/ 476443 w 2051465"/>
                    <a:gd name="connsiteY246" fmla="*/ 739482 h 2053850"/>
                    <a:gd name="connsiteX247" fmla="*/ 477735 w 2051465"/>
                    <a:gd name="connsiteY247" fmla="*/ 710236 h 2053850"/>
                    <a:gd name="connsiteX248" fmla="*/ 502131 w 2051465"/>
                    <a:gd name="connsiteY248" fmla="*/ 694551 h 2053850"/>
                    <a:gd name="connsiteX249" fmla="*/ 474989 w 2051465"/>
                    <a:gd name="connsiteY249" fmla="*/ 684421 h 2053850"/>
                    <a:gd name="connsiteX250" fmla="*/ 1510799 w 2051465"/>
                    <a:gd name="connsiteY250" fmla="*/ 565346 h 2053850"/>
                    <a:gd name="connsiteX251" fmla="*/ 1508557 w 2051465"/>
                    <a:gd name="connsiteY251" fmla="*/ 594118 h 2053850"/>
                    <a:gd name="connsiteX252" fmla="*/ 1483734 w 2051465"/>
                    <a:gd name="connsiteY252" fmla="*/ 608584 h 2053850"/>
                    <a:gd name="connsiteX253" fmla="*/ 1510318 w 2051465"/>
                    <a:gd name="connsiteY253" fmla="*/ 619514 h 2053850"/>
                    <a:gd name="connsiteX254" fmla="*/ 1516404 w 2051465"/>
                    <a:gd name="connsiteY254" fmla="*/ 647643 h 2053850"/>
                    <a:gd name="connsiteX255" fmla="*/ 1534980 w 2051465"/>
                    <a:gd name="connsiteY255" fmla="*/ 625783 h 2053850"/>
                    <a:gd name="connsiteX256" fmla="*/ 1563646 w 2051465"/>
                    <a:gd name="connsiteY256" fmla="*/ 628516 h 2053850"/>
                    <a:gd name="connsiteX257" fmla="*/ 1548593 w 2051465"/>
                    <a:gd name="connsiteY257" fmla="*/ 604084 h 2053850"/>
                    <a:gd name="connsiteX258" fmla="*/ 1560123 w 2051465"/>
                    <a:gd name="connsiteY258" fmla="*/ 577723 h 2053850"/>
                    <a:gd name="connsiteX259" fmla="*/ 1532098 w 2051465"/>
                    <a:gd name="connsiteY259" fmla="*/ 584474 h 2053850"/>
                    <a:gd name="connsiteX260" fmla="*/ 540263 w 2051465"/>
                    <a:gd name="connsiteY260" fmla="*/ 565346 h 2053850"/>
                    <a:gd name="connsiteX261" fmla="*/ 518646 w 2051465"/>
                    <a:gd name="connsiteY261" fmla="*/ 584474 h 2053850"/>
                    <a:gd name="connsiteX262" fmla="*/ 490203 w 2051465"/>
                    <a:gd name="connsiteY262" fmla="*/ 577723 h 2053850"/>
                    <a:gd name="connsiteX263" fmla="*/ 502068 w 2051465"/>
                    <a:gd name="connsiteY263" fmla="*/ 604084 h 2053850"/>
                    <a:gd name="connsiteX264" fmla="*/ 486627 w 2051465"/>
                    <a:gd name="connsiteY264" fmla="*/ 628516 h 2053850"/>
                    <a:gd name="connsiteX265" fmla="*/ 515721 w 2051465"/>
                    <a:gd name="connsiteY265" fmla="*/ 625783 h 2053850"/>
                    <a:gd name="connsiteX266" fmla="*/ 534575 w 2051465"/>
                    <a:gd name="connsiteY266" fmla="*/ 647643 h 2053850"/>
                    <a:gd name="connsiteX267" fmla="*/ 540751 w 2051465"/>
                    <a:gd name="connsiteY267" fmla="*/ 619514 h 2053850"/>
                    <a:gd name="connsiteX268" fmla="*/ 567731 w 2051465"/>
                    <a:gd name="connsiteY268" fmla="*/ 608584 h 2053850"/>
                    <a:gd name="connsiteX269" fmla="*/ 542539 w 2051465"/>
                    <a:gd name="connsiteY269" fmla="*/ 594118 h 2053850"/>
                    <a:gd name="connsiteX270" fmla="*/ 1422950 w 2051465"/>
                    <a:gd name="connsiteY270" fmla="*/ 487819 h 2053850"/>
                    <a:gd name="connsiteX271" fmla="*/ 1425843 w 2051465"/>
                    <a:gd name="connsiteY271" fmla="*/ 516913 h 2053850"/>
                    <a:gd name="connsiteX272" fmla="*/ 1403822 w 2051465"/>
                    <a:gd name="connsiteY272" fmla="*/ 535766 h 2053850"/>
                    <a:gd name="connsiteX273" fmla="*/ 1431951 w 2051465"/>
                    <a:gd name="connsiteY273" fmla="*/ 541943 h 2053850"/>
                    <a:gd name="connsiteX274" fmla="*/ 1442881 w 2051465"/>
                    <a:gd name="connsiteY274" fmla="*/ 568923 h 2053850"/>
                    <a:gd name="connsiteX275" fmla="*/ 1457347 w 2051465"/>
                    <a:gd name="connsiteY275" fmla="*/ 543731 h 2053850"/>
                    <a:gd name="connsiteX276" fmla="*/ 1486119 w 2051465"/>
                    <a:gd name="connsiteY276" fmla="*/ 541618 h 2053850"/>
                    <a:gd name="connsiteX277" fmla="*/ 1466992 w 2051465"/>
                    <a:gd name="connsiteY277" fmla="*/ 519838 h 2053850"/>
                    <a:gd name="connsiteX278" fmla="*/ 1473743 w 2051465"/>
                    <a:gd name="connsiteY278" fmla="*/ 491557 h 2053850"/>
                    <a:gd name="connsiteX279" fmla="*/ 1447382 w 2051465"/>
                    <a:gd name="connsiteY279" fmla="*/ 503260 h 2053850"/>
                    <a:gd name="connsiteX280" fmla="*/ 627323 w 2051465"/>
                    <a:gd name="connsiteY280" fmla="*/ 487819 h 2053850"/>
                    <a:gd name="connsiteX281" fmla="*/ 602891 w 2051465"/>
                    <a:gd name="connsiteY281" fmla="*/ 503260 h 2053850"/>
                    <a:gd name="connsiteX282" fmla="*/ 576530 w 2051465"/>
                    <a:gd name="connsiteY282" fmla="*/ 491557 h 2053850"/>
                    <a:gd name="connsiteX283" fmla="*/ 583281 w 2051465"/>
                    <a:gd name="connsiteY283" fmla="*/ 519838 h 2053850"/>
                    <a:gd name="connsiteX284" fmla="*/ 564153 w 2051465"/>
                    <a:gd name="connsiteY284" fmla="*/ 541618 h 2053850"/>
                    <a:gd name="connsiteX285" fmla="*/ 592925 w 2051465"/>
                    <a:gd name="connsiteY285" fmla="*/ 543731 h 2053850"/>
                    <a:gd name="connsiteX286" fmla="*/ 607391 w 2051465"/>
                    <a:gd name="connsiteY286" fmla="*/ 568923 h 2053850"/>
                    <a:gd name="connsiteX287" fmla="*/ 618321 w 2051465"/>
                    <a:gd name="connsiteY287" fmla="*/ 541943 h 2053850"/>
                    <a:gd name="connsiteX288" fmla="*/ 646450 w 2051465"/>
                    <a:gd name="connsiteY288" fmla="*/ 535766 h 2053850"/>
                    <a:gd name="connsiteX289" fmla="*/ 624429 w 2051465"/>
                    <a:gd name="connsiteY289" fmla="*/ 516913 h 2053850"/>
                    <a:gd name="connsiteX290" fmla="*/ 1374698 w 2051465"/>
                    <a:gd name="connsiteY290" fmla="*/ 421027 h 2053850"/>
                    <a:gd name="connsiteX291" fmla="*/ 1350701 w 2051465"/>
                    <a:gd name="connsiteY291" fmla="*/ 437421 h 2053850"/>
                    <a:gd name="connsiteX292" fmla="*/ 1323806 w 2051465"/>
                    <a:gd name="connsiteY292" fmla="*/ 426437 h 2053850"/>
                    <a:gd name="connsiteX293" fmla="*/ 1331697 w 2051465"/>
                    <a:gd name="connsiteY293" fmla="*/ 454798 h 2053850"/>
                    <a:gd name="connsiteX294" fmla="*/ 1313176 w 2051465"/>
                    <a:gd name="connsiteY294" fmla="*/ 477422 h 2053850"/>
                    <a:gd name="connsiteX295" fmla="*/ 1342004 w 2051465"/>
                    <a:gd name="connsiteY295" fmla="*/ 478569 h 2053850"/>
                    <a:gd name="connsiteX296" fmla="*/ 1357465 w 2051465"/>
                    <a:gd name="connsiteY296" fmla="*/ 503324 h 2053850"/>
                    <a:gd name="connsiteX297" fmla="*/ 1367450 w 2051465"/>
                    <a:gd name="connsiteY297" fmla="*/ 475783 h 2053850"/>
                    <a:gd name="connsiteX298" fmla="*/ 1395473 w 2051465"/>
                    <a:gd name="connsiteY298" fmla="*/ 468569 h 2053850"/>
                    <a:gd name="connsiteX299" fmla="*/ 1372765 w 2051465"/>
                    <a:gd name="connsiteY299" fmla="*/ 450372 h 2053850"/>
                    <a:gd name="connsiteX300" fmla="*/ 676768 w 2051465"/>
                    <a:gd name="connsiteY300" fmla="*/ 421027 h 2053850"/>
                    <a:gd name="connsiteX301" fmla="*/ 678700 w 2051465"/>
                    <a:gd name="connsiteY301" fmla="*/ 450372 h 2053850"/>
                    <a:gd name="connsiteX302" fmla="*/ 655992 w 2051465"/>
                    <a:gd name="connsiteY302" fmla="*/ 468569 h 2053850"/>
                    <a:gd name="connsiteX303" fmla="*/ 684015 w 2051465"/>
                    <a:gd name="connsiteY303" fmla="*/ 475783 h 2053850"/>
                    <a:gd name="connsiteX304" fmla="*/ 694000 w 2051465"/>
                    <a:gd name="connsiteY304" fmla="*/ 503324 h 2053850"/>
                    <a:gd name="connsiteX305" fmla="*/ 709461 w 2051465"/>
                    <a:gd name="connsiteY305" fmla="*/ 478569 h 2053850"/>
                    <a:gd name="connsiteX306" fmla="*/ 738289 w 2051465"/>
                    <a:gd name="connsiteY306" fmla="*/ 477422 h 2053850"/>
                    <a:gd name="connsiteX307" fmla="*/ 719768 w 2051465"/>
                    <a:gd name="connsiteY307" fmla="*/ 454798 h 2053850"/>
                    <a:gd name="connsiteX308" fmla="*/ 727660 w 2051465"/>
                    <a:gd name="connsiteY308" fmla="*/ 426437 h 2053850"/>
                    <a:gd name="connsiteX309" fmla="*/ 700764 w 2051465"/>
                    <a:gd name="connsiteY309" fmla="*/ 437421 h 2053850"/>
                    <a:gd name="connsiteX310" fmla="*/ 1264106 w 2051465"/>
                    <a:gd name="connsiteY310" fmla="*/ 369741 h 2053850"/>
                    <a:gd name="connsiteX311" fmla="*/ 1243238 w 2051465"/>
                    <a:gd name="connsiteY311" fmla="*/ 389883 h 2053850"/>
                    <a:gd name="connsiteX312" fmla="*/ 1214768 w 2051465"/>
                    <a:gd name="connsiteY312" fmla="*/ 384035 h 2053850"/>
                    <a:gd name="connsiteX313" fmla="*/ 1227385 w 2051465"/>
                    <a:gd name="connsiteY313" fmla="*/ 410187 h 2053850"/>
                    <a:gd name="connsiteX314" fmla="*/ 1212988 w 2051465"/>
                    <a:gd name="connsiteY314" fmla="*/ 435526 h 2053850"/>
                    <a:gd name="connsiteX315" fmla="*/ 1241782 w 2051465"/>
                    <a:gd name="connsiteY315" fmla="*/ 431628 h 2053850"/>
                    <a:gd name="connsiteX316" fmla="*/ 1261194 w 2051465"/>
                    <a:gd name="connsiteY316" fmla="*/ 453231 h 2053850"/>
                    <a:gd name="connsiteX317" fmla="*/ 1266371 w 2051465"/>
                    <a:gd name="connsiteY317" fmla="*/ 424481 h 2053850"/>
                    <a:gd name="connsiteX318" fmla="*/ 1292900 w 2051465"/>
                    <a:gd name="connsiteY318" fmla="*/ 412461 h 2053850"/>
                    <a:gd name="connsiteX319" fmla="*/ 1267341 w 2051465"/>
                    <a:gd name="connsiteY319" fmla="*/ 398654 h 2053850"/>
                    <a:gd name="connsiteX320" fmla="*/ 786930 w 2051465"/>
                    <a:gd name="connsiteY320" fmla="*/ 369741 h 2053850"/>
                    <a:gd name="connsiteX321" fmla="*/ 783743 w 2051465"/>
                    <a:gd name="connsiteY321" fmla="*/ 398654 h 2053850"/>
                    <a:gd name="connsiteX322" fmla="*/ 758565 w 2051465"/>
                    <a:gd name="connsiteY322" fmla="*/ 412461 h 2053850"/>
                    <a:gd name="connsiteX323" fmla="*/ 784699 w 2051465"/>
                    <a:gd name="connsiteY323" fmla="*/ 424481 h 2053850"/>
                    <a:gd name="connsiteX324" fmla="*/ 789798 w 2051465"/>
                    <a:gd name="connsiteY324" fmla="*/ 453231 h 2053850"/>
                    <a:gd name="connsiteX325" fmla="*/ 808920 w 2051465"/>
                    <a:gd name="connsiteY325" fmla="*/ 431628 h 2053850"/>
                    <a:gd name="connsiteX326" fmla="*/ 837284 w 2051465"/>
                    <a:gd name="connsiteY326" fmla="*/ 435526 h 2053850"/>
                    <a:gd name="connsiteX327" fmla="*/ 823102 w 2051465"/>
                    <a:gd name="connsiteY327" fmla="*/ 410187 h 2053850"/>
                    <a:gd name="connsiteX328" fmla="*/ 835531 w 2051465"/>
                    <a:gd name="connsiteY328" fmla="*/ 384035 h 2053850"/>
                    <a:gd name="connsiteX329" fmla="*/ 807486 w 2051465"/>
                    <a:gd name="connsiteY329" fmla="*/ 389883 h 2053850"/>
                    <a:gd name="connsiteX330" fmla="*/ 1146715 w 2051465"/>
                    <a:gd name="connsiteY330" fmla="*/ 338730 h 2053850"/>
                    <a:gd name="connsiteX331" fmla="*/ 1129724 w 2051465"/>
                    <a:gd name="connsiteY331" fmla="*/ 362174 h 2053850"/>
                    <a:gd name="connsiteX332" fmla="*/ 1100873 w 2051465"/>
                    <a:gd name="connsiteY332" fmla="*/ 361204 h 2053850"/>
                    <a:gd name="connsiteX333" fmla="*/ 1117703 w 2051465"/>
                    <a:gd name="connsiteY333" fmla="*/ 384810 h 2053850"/>
                    <a:gd name="connsiteX334" fmla="*/ 1108086 w 2051465"/>
                    <a:gd name="connsiteY334" fmla="*/ 412135 h 2053850"/>
                    <a:gd name="connsiteX335" fmla="*/ 1135334 w 2051465"/>
                    <a:gd name="connsiteY335" fmla="*/ 403242 h 2053850"/>
                    <a:gd name="connsiteX336" fmla="*/ 1158095 w 2051465"/>
                    <a:gd name="connsiteY336" fmla="*/ 421027 h 2053850"/>
                    <a:gd name="connsiteX337" fmla="*/ 1158255 w 2051465"/>
                    <a:gd name="connsiteY337" fmla="*/ 391924 h 2053850"/>
                    <a:gd name="connsiteX338" fmla="*/ 1181977 w 2051465"/>
                    <a:gd name="connsiteY338" fmla="*/ 375594 h 2053850"/>
                    <a:gd name="connsiteX339" fmla="*/ 1154729 w 2051465"/>
                    <a:gd name="connsiteY339" fmla="*/ 366540 h 2053850"/>
                    <a:gd name="connsiteX340" fmla="*/ 904076 w 2051465"/>
                    <a:gd name="connsiteY340" fmla="*/ 338730 h 2053850"/>
                    <a:gd name="connsiteX341" fmla="*/ 895943 w 2051465"/>
                    <a:gd name="connsiteY341" fmla="*/ 366540 h 2053850"/>
                    <a:gd name="connsiteX342" fmla="*/ 868294 w 2051465"/>
                    <a:gd name="connsiteY342" fmla="*/ 375594 h 2053850"/>
                    <a:gd name="connsiteX343" fmla="*/ 892365 w 2051465"/>
                    <a:gd name="connsiteY343" fmla="*/ 391924 h 2053850"/>
                    <a:gd name="connsiteX344" fmla="*/ 892528 w 2051465"/>
                    <a:gd name="connsiteY344" fmla="*/ 421027 h 2053850"/>
                    <a:gd name="connsiteX345" fmla="*/ 915623 w 2051465"/>
                    <a:gd name="connsiteY345" fmla="*/ 403242 h 2053850"/>
                    <a:gd name="connsiteX346" fmla="*/ 943272 w 2051465"/>
                    <a:gd name="connsiteY346" fmla="*/ 412135 h 2053850"/>
                    <a:gd name="connsiteX347" fmla="*/ 933514 w 2051465"/>
                    <a:gd name="connsiteY347" fmla="*/ 384810 h 2053850"/>
                    <a:gd name="connsiteX348" fmla="*/ 950591 w 2051465"/>
                    <a:gd name="connsiteY348" fmla="*/ 361204 h 2053850"/>
                    <a:gd name="connsiteX349" fmla="*/ 921316 w 2051465"/>
                    <a:gd name="connsiteY349" fmla="*/ 362174 h 2053850"/>
                    <a:gd name="connsiteX350" fmla="*/ 1025815 w 2051465"/>
                    <a:gd name="connsiteY350" fmla="*/ 327996 h 2053850"/>
                    <a:gd name="connsiteX351" fmla="*/ 1012795 w 2051465"/>
                    <a:gd name="connsiteY351" fmla="*/ 353914 h 2053850"/>
                    <a:gd name="connsiteX352" fmla="*/ 983988 w 2051465"/>
                    <a:gd name="connsiteY352" fmla="*/ 358099 h 2053850"/>
                    <a:gd name="connsiteX353" fmla="*/ 1004820 w 2051465"/>
                    <a:gd name="connsiteY353" fmla="*/ 378222 h 2053850"/>
                    <a:gd name="connsiteX354" fmla="*/ 999938 w 2051465"/>
                    <a:gd name="connsiteY354" fmla="*/ 406715 h 2053850"/>
                    <a:gd name="connsiteX355" fmla="*/ 1025815 w 2051465"/>
                    <a:gd name="connsiteY355" fmla="*/ 393193 h 2053850"/>
                    <a:gd name="connsiteX356" fmla="*/ 1051529 w 2051465"/>
                    <a:gd name="connsiteY356" fmla="*/ 406715 h 2053850"/>
                    <a:gd name="connsiteX357" fmla="*/ 1046646 w 2051465"/>
                    <a:gd name="connsiteY357" fmla="*/ 378222 h 2053850"/>
                    <a:gd name="connsiteX358" fmla="*/ 1067478 w 2051465"/>
                    <a:gd name="connsiteY358" fmla="*/ 358099 h 2053850"/>
                    <a:gd name="connsiteX359" fmla="*/ 1038672 w 2051465"/>
                    <a:gd name="connsiteY359" fmla="*/ 353914 h 2053850"/>
                    <a:gd name="connsiteX360" fmla="*/ 1021692 w 2051465"/>
                    <a:gd name="connsiteY360" fmla="*/ 287509 h 2053850"/>
                    <a:gd name="connsiteX361" fmla="*/ 1748629 w 2051465"/>
                    <a:gd name="connsiteY361" fmla="*/ 1014446 h 2053850"/>
                    <a:gd name="connsiteX362" fmla="*/ 1021692 w 2051465"/>
                    <a:gd name="connsiteY362" fmla="*/ 1741383 h 2053850"/>
                    <a:gd name="connsiteX363" fmla="*/ 294755 w 2051465"/>
                    <a:gd name="connsiteY363" fmla="*/ 1014446 h 2053850"/>
                    <a:gd name="connsiteX364" fmla="*/ 1021692 w 2051465"/>
                    <a:gd name="connsiteY364" fmla="*/ 287509 h 2053850"/>
                    <a:gd name="connsiteX365" fmla="*/ 1021692 w 2051465"/>
                    <a:gd name="connsiteY365" fmla="*/ 204488 h 2053850"/>
                    <a:gd name="connsiteX366" fmla="*/ 211734 w 2051465"/>
                    <a:gd name="connsiteY366" fmla="*/ 1014446 h 2053850"/>
                    <a:gd name="connsiteX367" fmla="*/ 1021692 w 2051465"/>
                    <a:gd name="connsiteY367" fmla="*/ 1824404 h 2053850"/>
                    <a:gd name="connsiteX368" fmla="*/ 1831650 w 2051465"/>
                    <a:gd name="connsiteY368" fmla="*/ 1014446 h 2053850"/>
                    <a:gd name="connsiteX369" fmla="*/ 1021692 w 2051465"/>
                    <a:gd name="connsiteY369" fmla="*/ 204488 h 2053850"/>
                    <a:gd name="connsiteX370" fmla="*/ 1025813 w 2051465"/>
                    <a:gd name="connsiteY370" fmla="*/ 0 h 2053850"/>
                    <a:gd name="connsiteX371" fmla="*/ 1266289 w 2051465"/>
                    <a:gd name="connsiteY371" fmla="*/ 127810 h 2053850"/>
                    <a:gd name="connsiteX372" fmla="*/ 1538559 w 2051465"/>
                    <a:gd name="connsiteY372" fmla="*/ 137667 h 2053850"/>
                    <a:gd name="connsiteX373" fmla="*/ 1683167 w 2051465"/>
                    <a:gd name="connsiteY373" fmla="*/ 368727 h 2053850"/>
                    <a:gd name="connsiteX374" fmla="*/ 1913958 w 2051465"/>
                    <a:gd name="connsiteY374" fmla="*/ 513503 h 2053850"/>
                    <a:gd name="connsiteX375" fmla="*/ 1923803 w 2051465"/>
                    <a:gd name="connsiteY375" fmla="*/ 786089 h 2053850"/>
                    <a:gd name="connsiteX376" fmla="*/ 2051465 w 2051465"/>
                    <a:gd name="connsiteY376" fmla="*/ 1027006 h 2053850"/>
                    <a:gd name="connsiteX377" fmla="*/ 1923803 w 2051465"/>
                    <a:gd name="connsiteY377" fmla="*/ 1267923 h 2053850"/>
                    <a:gd name="connsiteX378" fmla="*/ 1913958 w 2051465"/>
                    <a:gd name="connsiteY378" fmla="*/ 1540347 h 2053850"/>
                    <a:gd name="connsiteX379" fmla="*/ 1683167 w 2051465"/>
                    <a:gd name="connsiteY379" fmla="*/ 1685123 h 2053850"/>
                    <a:gd name="connsiteX380" fmla="*/ 1538559 w 2051465"/>
                    <a:gd name="connsiteY380" fmla="*/ 1916345 h 2053850"/>
                    <a:gd name="connsiteX381" fmla="*/ 1266289 w 2051465"/>
                    <a:gd name="connsiteY381" fmla="*/ 1926040 h 2053850"/>
                    <a:gd name="connsiteX382" fmla="*/ 1025813 w 2051465"/>
                    <a:gd name="connsiteY382" fmla="*/ 2053850 h 2053850"/>
                    <a:gd name="connsiteX383" fmla="*/ 785177 w 2051465"/>
                    <a:gd name="connsiteY383" fmla="*/ 1926040 h 2053850"/>
                    <a:gd name="connsiteX384" fmla="*/ 512907 w 2051465"/>
                    <a:gd name="connsiteY384" fmla="*/ 1916345 h 2053850"/>
                    <a:gd name="connsiteX385" fmla="*/ 368299 w 2051465"/>
                    <a:gd name="connsiteY385" fmla="*/ 1685123 h 2053850"/>
                    <a:gd name="connsiteX386" fmla="*/ 137507 w 2051465"/>
                    <a:gd name="connsiteY386" fmla="*/ 1540347 h 2053850"/>
                    <a:gd name="connsiteX387" fmla="*/ 127662 w 2051465"/>
                    <a:gd name="connsiteY387" fmla="*/ 1267923 h 2053850"/>
                    <a:gd name="connsiteX388" fmla="*/ 0 w 2051465"/>
                    <a:gd name="connsiteY388" fmla="*/ 1027006 h 2053850"/>
                    <a:gd name="connsiteX389" fmla="*/ 127662 w 2051465"/>
                    <a:gd name="connsiteY389" fmla="*/ 786089 h 2053850"/>
                    <a:gd name="connsiteX390" fmla="*/ 137507 w 2051465"/>
                    <a:gd name="connsiteY390" fmla="*/ 513503 h 2053850"/>
                    <a:gd name="connsiteX391" fmla="*/ 368299 w 2051465"/>
                    <a:gd name="connsiteY391" fmla="*/ 368727 h 2053850"/>
                    <a:gd name="connsiteX392" fmla="*/ 512907 w 2051465"/>
                    <a:gd name="connsiteY392" fmla="*/ 137667 h 2053850"/>
                    <a:gd name="connsiteX393" fmla="*/ 785177 w 2051465"/>
                    <a:gd name="connsiteY393" fmla="*/ 127810 h 2053850"/>
                    <a:gd name="connsiteX394" fmla="*/ 1025813 w 2051465"/>
                    <a:gd name="connsiteY394" fmla="*/ 0 h 2053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</a:cxnLst>
                  <a:rect l="l" t="t" r="r" b="b"/>
                  <a:pathLst>
                    <a:path w="2051465" h="2053850">
                      <a:moveTo>
                        <a:pt x="999938" y="1647136"/>
                      </a:moveTo>
                      <a:lnTo>
                        <a:pt x="1004820" y="1675527"/>
                      </a:lnTo>
                      <a:lnTo>
                        <a:pt x="983988" y="1695690"/>
                      </a:lnTo>
                      <a:lnTo>
                        <a:pt x="1012795" y="1699884"/>
                      </a:lnTo>
                      <a:lnTo>
                        <a:pt x="1025815" y="1725855"/>
                      </a:lnTo>
                      <a:lnTo>
                        <a:pt x="1038672" y="1699884"/>
                      </a:lnTo>
                      <a:lnTo>
                        <a:pt x="1067478" y="1695690"/>
                      </a:lnTo>
                      <a:lnTo>
                        <a:pt x="1046646" y="1675527"/>
                      </a:lnTo>
                      <a:lnTo>
                        <a:pt x="1051529" y="1647136"/>
                      </a:lnTo>
                      <a:lnTo>
                        <a:pt x="1025815" y="1660525"/>
                      </a:lnTo>
                      <a:close/>
                      <a:moveTo>
                        <a:pt x="1158095" y="1634016"/>
                      </a:moveTo>
                      <a:lnTo>
                        <a:pt x="1135334" y="1651418"/>
                      </a:lnTo>
                      <a:lnTo>
                        <a:pt x="1108086" y="1642797"/>
                      </a:lnTo>
                      <a:lnTo>
                        <a:pt x="1117703" y="1669779"/>
                      </a:lnTo>
                      <a:lnTo>
                        <a:pt x="1100873" y="1692928"/>
                      </a:lnTo>
                      <a:lnTo>
                        <a:pt x="1129724" y="1692130"/>
                      </a:lnTo>
                      <a:lnTo>
                        <a:pt x="1146715" y="1715120"/>
                      </a:lnTo>
                      <a:lnTo>
                        <a:pt x="1154729" y="1687660"/>
                      </a:lnTo>
                      <a:lnTo>
                        <a:pt x="1181977" y="1678719"/>
                      </a:lnTo>
                      <a:lnTo>
                        <a:pt x="1158255" y="1662594"/>
                      </a:lnTo>
                      <a:close/>
                      <a:moveTo>
                        <a:pt x="892528" y="1634016"/>
                      </a:moveTo>
                      <a:lnTo>
                        <a:pt x="892365" y="1662594"/>
                      </a:lnTo>
                      <a:lnTo>
                        <a:pt x="868294" y="1678719"/>
                      </a:lnTo>
                      <a:lnTo>
                        <a:pt x="895943" y="1687660"/>
                      </a:lnTo>
                      <a:lnTo>
                        <a:pt x="904076" y="1715120"/>
                      </a:lnTo>
                      <a:lnTo>
                        <a:pt x="921316" y="1692130"/>
                      </a:lnTo>
                      <a:lnTo>
                        <a:pt x="950591" y="1692928"/>
                      </a:lnTo>
                      <a:lnTo>
                        <a:pt x="933514" y="1669779"/>
                      </a:lnTo>
                      <a:lnTo>
                        <a:pt x="943272" y="1642797"/>
                      </a:lnTo>
                      <a:lnTo>
                        <a:pt x="915623" y="1651418"/>
                      </a:lnTo>
                      <a:close/>
                      <a:moveTo>
                        <a:pt x="1261194" y="1600620"/>
                      </a:moveTo>
                      <a:lnTo>
                        <a:pt x="1241782" y="1622103"/>
                      </a:lnTo>
                      <a:lnTo>
                        <a:pt x="1212988" y="1618197"/>
                      </a:lnTo>
                      <a:lnTo>
                        <a:pt x="1227385" y="1643586"/>
                      </a:lnTo>
                      <a:lnTo>
                        <a:pt x="1214768" y="1669951"/>
                      </a:lnTo>
                      <a:lnTo>
                        <a:pt x="1243238" y="1663929"/>
                      </a:lnTo>
                      <a:lnTo>
                        <a:pt x="1264106" y="1684110"/>
                      </a:lnTo>
                      <a:lnTo>
                        <a:pt x="1267341" y="1655141"/>
                      </a:lnTo>
                      <a:lnTo>
                        <a:pt x="1292900" y="1641307"/>
                      </a:lnTo>
                      <a:lnTo>
                        <a:pt x="1266371" y="1629264"/>
                      </a:lnTo>
                      <a:close/>
                      <a:moveTo>
                        <a:pt x="789798" y="1600620"/>
                      </a:moveTo>
                      <a:lnTo>
                        <a:pt x="784699" y="1629264"/>
                      </a:lnTo>
                      <a:lnTo>
                        <a:pt x="758565" y="1641307"/>
                      </a:lnTo>
                      <a:lnTo>
                        <a:pt x="783743" y="1655141"/>
                      </a:lnTo>
                      <a:lnTo>
                        <a:pt x="786930" y="1684110"/>
                      </a:lnTo>
                      <a:lnTo>
                        <a:pt x="807486" y="1663929"/>
                      </a:lnTo>
                      <a:lnTo>
                        <a:pt x="835531" y="1669951"/>
                      </a:lnTo>
                      <a:lnTo>
                        <a:pt x="823102" y="1643586"/>
                      </a:lnTo>
                      <a:lnTo>
                        <a:pt x="837284" y="1618197"/>
                      </a:lnTo>
                      <a:lnTo>
                        <a:pt x="808920" y="1622103"/>
                      </a:lnTo>
                      <a:close/>
                      <a:moveTo>
                        <a:pt x="1357465" y="1551719"/>
                      </a:moveTo>
                      <a:lnTo>
                        <a:pt x="1342004" y="1576277"/>
                      </a:lnTo>
                      <a:lnTo>
                        <a:pt x="1313176" y="1577408"/>
                      </a:lnTo>
                      <a:lnTo>
                        <a:pt x="1331697" y="1599703"/>
                      </a:lnTo>
                      <a:lnTo>
                        <a:pt x="1323806" y="1627492"/>
                      </a:lnTo>
                      <a:lnTo>
                        <a:pt x="1350701" y="1616829"/>
                      </a:lnTo>
                      <a:lnTo>
                        <a:pt x="1374698" y="1632823"/>
                      </a:lnTo>
                      <a:lnTo>
                        <a:pt x="1372765" y="1603904"/>
                      </a:lnTo>
                      <a:lnTo>
                        <a:pt x="1395473" y="1585970"/>
                      </a:lnTo>
                      <a:lnTo>
                        <a:pt x="1367450" y="1578862"/>
                      </a:lnTo>
                      <a:close/>
                      <a:moveTo>
                        <a:pt x="694000" y="1551719"/>
                      </a:moveTo>
                      <a:lnTo>
                        <a:pt x="684015" y="1578862"/>
                      </a:lnTo>
                      <a:lnTo>
                        <a:pt x="655992" y="1585970"/>
                      </a:lnTo>
                      <a:lnTo>
                        <a:pt x="678700" y="1603904"/>
                      </a:lnTo>
                      <a:lnTo>
                        <a:pt x="676768" y="1632823"/>
                      </a:lnTo>
                      <a:lnTo>
                        <a:pt x="700764" y="1616829"/>
                      </a:lnTo>
                      <a:lnTo>
                        <a:pt x="727660" y="1627492"/>
                      </a:lnTo>
                      <a:lnTo>
                        <a:pt x="719768" y="1599703"/>
                      </a:lnTo>
                      <a:lnTo>
                        <a:pt x="738289" y="1577408"/>
                      </a:lnTo>
                      <a:lnTo>
                        <a:pt x="709461" y="1576277"/>
                      </a:lnTo>
                      <a:close/>
                      <a:moveTo>
                        <a:pt x="1442881" y="1486119"/>
                      </a:moveTo>
                      <a:lnTo>
                        <a:pt x="1431951" y="1512757"/>
                      </a:lnTo>
                      <a:lnTo>
                        <a:pt x="1403822" y="1518854"/>
                      </a:lnTo>
                      <a:lnTo>
                        <a:pt x="1425843" y="1537468"/>
                      </a:lnTo>
                      <a:lnTo>
                        <a:pt x="1422950" y="1566031"/>
                      </a:lnTo>
                      <a:lnTo>
                        <a:pt x="1447382" y="1550947"/>
                      </a:lnTo>
                      <a:lnTo>
                        <a:pt x="1473743" y="1562501"/>
                      </a:lnTo>
                      <a:lnTo>
                        <a:pt x="1466992" y="1534580"/>
                      </a:lnTo>
                      <a:lnTo>
                        <a:pt x="1486119" y="1513078"/>
                      </a:lnTo>
                      <a:lnTo>
                        <a:pt x="1457347" y="1510831"/>
                      </a:lnTo>
                      <a:close/>
                      <a:moveTo>
                        <a:pt x="607391" y="1486119"/>
                      </a:moveTo>
                      <a:lnTo>
                        <a:pt x="592925" y="1510831"/>
                      </a:lnTo>
                      <a:lnTo>
                        <a:pt x="564153" y="1513078"/>
                      </a:lnTo>
                      <a:lnTo>
                        <a:pt x="583281" y="1534580"/>
                      </a:lnTo>
                      <a:lnTo>
                        <a:pt x="576530" y="1562501"/>
                      </a:lnTo>
                      <a:lnTo>
                        <a:pt x="602891" y="1550947"/>
                      </a:lnTo>
                      <a:lnTo>
                        <a:pt x="627323" y="1566031"/>
                      </a:lnTo>
                      <a:lnTo>
                        <a:pt x="624429" y="1537468"/>
                      </a:lnTo>
                      <a:lnTo>
                        <a:pt x="646450" y="1518854"/>
                      </a:lnTo>
                      <a:lnTo>
                        <a:pt x="618321" y="1512757"/>
                      </a:lnTo>
                      <a:close/>
                      <a:moveTo>
                        <a:pt x="1516404" y="1406208"/>
                      </a:moveTo>
                      <a:lnTo>
                        <a:pt x="1510318" y="1434337"/>
                      </a:lnTo>
                      <a:lnTo>
                        <a:pt x="1483734" y="1445267"/>
                      </a:lnTo>
                      <a:lnTo>
                        <a:pt x="1508557" y="1459894"/>
                      </a:lnTo>
                      <a:lnTo>
                        <a:pt x="1510799" y="1488505"/>
                      </a:lnTo>
                      <a:lnTo>
                        <a:pt x="1532098" y="1469378"/>
                      </a:lnTo>
                      <a:lnTo>
                        <a:pt x="1560123" y="1476289"/>
                      </a:lnTo>
                      <a:lnTo>
                        <a:pt x="1548593" y="1449768"/>
                      </a:lnTo>
                      <a:lnTo>
                        <a:pt x="1563646" y="1425336"/>
                      </a:lnTo>
                      <a:lnTo>
                        <a:pt x="1534980" y="1428229"/>
                      </a:lnTo>
                      <a:close/>
                      <a:moveTo>
                        <a:pt x="534575" y="1406208"/>
                      </a:moveTo>
                      <a:lnTo>
                        <a:pt x="515721" y="1428229"/>
                      </a:lnTo>
                      <a:lnTo>
                        <a:pt x="486627" y="1425336"/>
                      </a:lnTo>
                      <a:lnTo>
                        <a:pt x="502068" y="1449768"/>
                      </a:lnTo>
                      <a:lnTo>
                        <a:pt x="490203" y="1476289"/>
                      </a:lnTo>
                      <a:lnTo>
                        <a:pt x="518646" y="1469378"/>
                      </a:lnTo>
                      <a:lnTo>
                        <a:pt x="540263" y="1488505"/>
                      </a:lnTo>
                      <a:lnTo>
                        <a:pt x="542539" y="1459894"/>
                      </a:lnTo>
                      <a:lnTo>
                        <a:pt x="567731" y="1445267"/>
                      </a:lnTo>
                      <a:lnTo>
                        <a:pt x="540751" y="1434337"/>
                      </a:lnTo>
                      <a:close/>
                      <a:moveTo>
                        <a:pt x="1575022" y="1315562"/>
                      </a:moveTo>
                      <a:lnTo>
                        <a:pt x="1573729" y="1344390"/>
                      </a:lnTo>
                      <a:lnTo>
                        <a:pt x="1549333" y="1359851"/>
                      </a:lnTo>
                      <a:lnTo>
                        <a:pt x="1576476" y="1369836"/>
                      </a:lnTo>
                      <a:lnTo>
                        <a:pt x="1583584" y="1397859"/>
                      </a:lnTo>
                      <a:lnTo>
                        <a:pt x="1601518" y="1375151"/>
                      </a:lnTo>
                      <a:lnTo>
                        <a:pt x="1630437" y="1377084"/>
                      </a:lnTo>
                      <a:lnTo>
                        <a:pt x="1614443" y="1353087"/>
                      </a:lnTo>
                      <a:lnTo>
                        <a:pt x="1625106" y="1326192"/>
                      </a:lnTo>
                      <a:lnTo>
                        <a:pt x="1597156" y="1334083"/>
                      </a:lnTo>
                      <a:close/>
                      <a:moveTo>
                        <a:pt x="476443" y="1315562"/>
                      </a:moveTo>
                      <a:lnTo>
                        <a:pt x="454309" y="1334083"/>
                      </a:lnTo>
                      <a:lnTo>
                        <a:pt x="426359" y="1326192"/>
                      </a:lnTo>
                      <a:lnTo>
                        <a:pt x="437022" y="1353087"/>
                      </a:lnTo>
                      <a:lnTo>
                        <a:pt x="421027" y="1377084"/>
                      </a:lnTo>
                      <a:lnTo>
                        <a:pt x="449947" y="1375151"/>
                      </a:lnTo>
                      <a:lnTo>
                        <a:pt x="467880" y="1397859"/>
                      </a:lnTo>
                      <a:lnTo>
                        <a:pt x="474989" y="1369836"/>
                      </a:lnTo>
                      <a:lnTo>
                        <a:pt x="502131" y="1359851"/>
                      </a:lnTo>
                      <a:lnTo>
                        <a:pt x="477735" y="1344390"/>
                      </a:lnTo>
                      <a:close/>
                      <a:moveTo>
                        <a:pt x="1615811" y="1215374"/>
                      </a:moveTo>
                      <a:lnTo>
                        <a:pt x="1619717" y="1244168"/>
                      </a:lnTo>
                      <a:lnTo>
                        <a:pt x="1598234" y="1263580"/>
                      </a:lnTo>
                      <a:lnTo>
                        <a:pt x="1626878" y="1268757"/>
                      </a:lnTo>
                      <a:lnTo>
                        <a:pt x="1638921" y="1295286"/>
                      </a:lnTo>
                      <a:lnTo>
                        <a:pt x="1652755" y="1269727"/>
                      </a:lnTo>
                      <a:lnTo>
                        <a:pt x="1681724" y="1266492"/>
                      </a:lnTo>
                      <a:lnTo>
                        <a:pt x="1661543" y="1245624"/>
                      </a:lnTo>
                      <a:lnTo>
                        <a:pt x="1667402" y="1217154"/>
                      </a:lnTo>
                      <a:lnTo>
                        <a:pt x="1641200" y="1229771"/>
                      </a:lnTo>
                      <a:close/>
                      <a:moveTo>
                        <a:pt x="434713" y="1215374"/>
                      </a:moveTo>
                      <a:lnTo>
                        <a:pt x="409687" y="1229771"/>
                      </a:lnTo>
                      <a:lnTo>
                        <a:pt x="383858" y="1217154"/>
                      </a:lnTo>
                      <a:lnTo>
                        <a:pt x="389634" y="1245624"/>
                      </a:lnTo>
                      <a:lnTo>
                        <a:pt x="369741" y="1266492"/>
                      </a:lnTo>
                      <a:lnTo>
                        <a:pt x="398297" y="1269727"/>
                      </a:lnTo>
                      <a:lnTo>
                        <a:pt x="411932" y="1295286"/>
                      </a:lnTo>
                      <a:lnTo>
                        <a:pt x="423804" y="1268757"/>
                      </a:lnTo>
                      <a:lnTo>
                        <a:pt x="452038" y="1263580"/>
                      </a:lnTo>
                      <a:lnTo>
                        <a:pt x="430862" y="1244168"/>
                      </a:lnTo>
                      <a:close/>
                      <a:moveTo>
                        <a:pt x="1690261" y="1102066"/>
                      </a:moveTo>
                      <a:lnTo>
                        <a:pt x="1666655" y="1119015"/>
                      </a:lnTo>
                      <a:lnTo>
                        <a:pt x="1639493" y="1109237"/>
                      </a:lnTo>
                      <a:lnTo>
                        <a:pt x="1648223" y="1137104"/>
                      </a:lnTo>
                      <a:lnTo>
                        <a:pt x="1630438" y="1160082"/>
                      </a:lnTo>
                      <a:lnTo>
                        <a:pt x="1659541" y="1160245"/>
                      </a:lnTo>
                      <a:lnTo>
                        <a:pt x="1675871" y="1184363"/>
                      </a:lnTo>
                      <a:lnTo>
                        <a:pt x="1684926" y="1156659"/>
                      </a:lnTo>
                      <a:lnTo>
                        <a:pt x="1712735" y="1148511"/>
                      </a:lnTo>
                      <a:lnTo>
                        <a:pt x="1689453" y="1131237"/>
                      </a:lnTo>
                      <a:close/>
                      <a:moveTo>
                        <a:pt x="360012" y="1102066"/>
                      </a:moveTo>
                      <a:lnTo>
                        <a:pt x="360821" y="1131237"/>
                      </a:lnTo>
                      <a:lnTo>
                        <a:pt x="337538" y="1148511"/>
                      </a:lnTo>
                      <a:lnTo>
                        <a:pt x="365348" y="1156659"/>
                      </a:lnTo>
                      <a:lnTo>
                        <a:pt x="374402" y="1184363"/>
                      </a:lnTo>
                      <a:lnTo>
                        <a:pt x="390732" y="1160245"/>
                      </a:lnTo>
                      <a:lnTo>
                        <a:pt x="419835" y="1160082"/>
                      </a:lnTo>
                      <a:lnTo>
                        <a:pt x="402050" y="1137104"/>
                      </a:lnTo>
                      <a:lnTo>
                        <a:pt x="410781" y="1109237"/>
                      </a:lnTo>
                      <a:lnTo>
                        <a:pt x="383618" y="1119015"/>
                      </a:lnTo>
                      <a:close/>
                      <a:moveTo>
                        <a:pt x="1693366" y="985180"/>
                      </a:moveTo>
                      <a:lnTo>
                        <a:pt x="1673244" y="1006012"/>
                      </a:lnTo>
                      <a:lnTo>
                        <a:pt x="1644750" y="1001130"/>
                      </a:lnTo>
                      <a:lnTo>
                        <a:pt x="1658273" y="1027007"/>
                      </a:lnTo>
                      <a:lnTo>
                        <a:pt x="1644750" y="1052721"/>
                      </a:lnTo>
                      <a:lnTo>
                        <a:pt x="1673244" y="1047838"/>
                      </a:lnTo>
                      <a:lnTo>
                        <a:pt x="1693366" y="1068670"/>
                      </a:lnTo>
                      <a:lnTo>
                        <a:pt x="1697552" y="1039864"/>
                      </a:lnTo>
                      <a:lnTo>
                        <a:pt x="1723469" y="1027007"/>
                      </a:lnTo>
                      <a:lnTo>
                        <a:pt x="1697552" y="1013987"/>
                      </a:lnTo>
                      <a:close/>
                      <a:moveTo>
                        <a:pt x="357363" y="985180"/>
                      </a:moveTo>
                      <a:lnTo>
                        <a:pt x="353114" y="1013987"/>
                      </a:lnTo>
                      <a:lnTo>
                        <a:pt x="326803" y="1027007"/>
                      </a:lnTo>
                      <a:lnTo>
                        <a:pt x="353114" y="1039864"/>
                      </a:lnTo>
                      <a:lnTo>
                        <a:pt x="357363" y="1068670"/>
                      </a:lnTo>
                      <a:lnTo>
                        <a:pt x="377790" y="1047838"/>
                      </a:lnTo>
                      <a:lnTo>
                        <a:pt x="406715" y="1052721"/>
                      </a:lnTo>
                      <a:lnTo>
                        <a:pt x="392988" y="1027007"/>
                      </a:lnTo>
                      <a:lnTo>
                        <a:pt x="406715" y="1001130"/>
                      </a:lnTo>
                      <a:lnTo>
                        <a:pt x="377790" y="1006012"/>
                      </a:lnTo>
                      <a:close/>
                      <a:moveTo>
                        <a:pt x="1675871" y="869487"/>
                      </a:moveTo>
                      <a:lnTo>
                        <a:pt x="1659541" y="893558"/>
                      </a:lnTo>
                      <a:lnTo>
                        <a:pt x="1630438" y="893721"/>
                      </a:lnTo>
                      <a:lnTo>
                        <a:pt x="1648223" y="916816"/>
                      </a:lnTo>
                      <a:lnTo>
                        <a:pt x="1639493" y="944628"/>
                      </a:lnTo>
                      <a:lnTo>
                        <a:pt x="1666655" y="934707"/>
                      </a:lnTo>
                      <a:lnTo>
                        <a:pt x="1690261" y="951784"/>
                      </a:lnTo>
                      <a:lnTo>
                        <a:pt x="1689453" y="922509"/>
                      </a:lnTo>
                      <a:lnTo>
                        <a:pt x="1712735" y="905269"/>
                      </a:lnTo>
                      <a:lnTo>
                        <a:pt x="1684926" y="897136"/>
                      </a:lnTo>
                      <a:close/>
                      <a:moveTo>
                        <a:pt x="374402" y="869487"/>
                      </a:moveTo>
                      <a:lnTo>
                        <a:pt x="365348" y="897136"/>
                      </a:lnTo>
                      <a:lnTo>
                        <a:pt x="337538" y="905269"/>
                      </a:lnTo>
                      <a:lnTo>
                        <a:pt x="360821" y="922509"/>
                      </a:lnTo>
                      <a:lnTo>
                        <a:pt x="360012" y="951784"/>
                      </a:lnTo>
                      <a:lnTo>
                        <a:pt x="383618" y="934707"/>
                      </a:lnTo>
                      <a:lnTo>
                        <a:pt x="410781" y="944628"/>
                      </a:lnTo>
                      <a:lnTo>
                        <a:pt x="402050" y="916816"/>
                      </a:lnTo>
                      <a:lnTo>
                        <a:pt x="419835" y="893721"/>
                      </a:lnTo>
                      <a:lnTo>
                        <a:pt x="390732" y="893558"/>
                      </a:lnTo>
                      <a:close/>
                      <a:moveTo>
                        <a:pt x="1638921" y="759758"/>
                      </a:moveTo>
                      <a:lnTo>
                        <a:pt x="1626878" y="785892"/>
                      </a:lnTo>
                      <a:lnTo>
                        <a:pt x="1598234" y="790991"/>
                      </a:lnTo>
                      <a:lnTo>
                        <a:pt x="1619717" y="810272"/>
                      </a:lnTo>
                      <a:lnTo>
                        <a:pt x="1615811" y="838477"/>
                      </a:lnTo>
                      <a:lnTo>
                        <a:pt x="1641200" y="824295"/>
                      </a:lnTo>
                      <a:lnTo>
                        <a:pt x="1667402" y="836724"/>
                      </a:lnTo>
                      <a:lnTo>
                        <a:pt x="1661543" y="808838"/>
                      </a:lnTo>
                      <a:lnTo>
                        <a:pt x="1681724" y="788123"/>
                      </a:lnTo>
                      <a:lnTo>
                        <a:pt x="1652755" y="784936"/>
                      </a:lnTo>
                      <a:close/>
                      <a:moveTo>
                        <a:pt x="411932" y="759758"/>
                      </a:moveTo>
                      <a:lnTo>
                        <a:pt x="398297" y="784936"/>
                      </a:lnTo>
                      <a:lnTo>
                        <a:pt x="369741" y="788123"/>
                      </a:lnTo>
                      <a:lnTo>
                        <a:pt x="389634" y="808838"/>
                      </a:lnTo>
                      <a:lnTo>
                        <a:pt x="383858" y="836724"/>
                      </a:lnTo>
                      <a:lnTo>
                        <a:pt x="409687" y="824295"/>
                      </a:lnTo>
                      <a:lnTo>
                        <a:pt x="434713" y="838477"/>
                      </a:lnTo>
                      <a:lnTo>
                        <a:pt x="430862" y="810272"/>
                      </a:lnTo>
                      <a:lnTo>
                        <a:pt x="452038" y="790991"/>
                      </a:lnTo>
                      <a:lnTo>
                        <a:pt x="423804" y="785892"/>
                      </a:lnTo>
                      <a:close/>
                      <a:moveTo>
                        <a:pt x="1583584" y="655992"/>
                      </a:moveTo>
                      <a:lnTo>
                        <a:pt x="1576476" y="684421"/>
                      </a:lnTo>
                      <a:lnTo>
                        <a:pt x="1549333" y="694551"/>
                      </a:lnTo>
                      <a:lnTo>
                        <a:pt x="1573729" y="710236"/>
                      </a:lnTo>
                      <a:lnTo>
                        <a:pt x="1575022" y="739482"/>
                      </a:lnTo>
                      <a:lnTo>
                        <a:pt x="1597156" y="720856"/>
                      </a:lnTo>
                      <a:lnTo>
                        <a:pt x="1625106" y="728699"/>
                      </a:lnTo>
                      <a:lnTo>
                        <a:pt x="1614443" y="701577"/>
                      </a:lnTo>
                      <a:lnTo>
                        <a:pt x="1630437" y="677232"/>
                      </a:lnTo>
                      <a:lnTo>
                        <a:pt x="1601518" y="679029"/>
                      </a:lnTo>
                      <a:close/>
                      <a:moveTo>
                        <a:pt x="467880" y="655992"/>
                      </a:moveTo>
                      <a:lnTo>
                        <a:pt x="449947" y="679029"/>
                      </a:lnTo>
                      <a:lnTo>
                        <a:pt x="421027" y="677232"/>
                      </a:lnTo>
                      <a:lnTo>
                        <a:pt x="437022" y="701577"/>
                      </a:lnTo>
                      <a:lnTo>
                        <a:pt x="426359" y="728699"/>
                      </a:lnTo>
                      <a:lnTo>
                        <a:pt x="454309" y="720856"/>
                      </a:lnTo>
                      <a:lnTo>
                        <a:pt x="476443" y="739482"/>
                      </a:lnTo>
                      <a:lnTo>
                        <a:pt x="477735" y="710236"/>
                      </a:lnTo>
                      <a:lnTo>
                        <a:pt x="502131" y="694551"/>
                      </a:lnTo>
                      <a:lnTo>
                        <a:pt x="474989" y="684421"/>
                      </a:lnTo>
                      <a:close/>
                      <a:moveTo>
                        <a:pt x="1510799" y="565346"/>
                      </a:moveTo>
                      <a:lnTo>
                        <a:pt x="1508557" y="594118"/>
                      </a:lnTo>
                      <a:lnTo>
                        <a:pt x="1483734" y="608584"/>
                      </a:lnTo>
                      <a:lnTo>
                        <a:pt x="1510318" y="619514"/>
                      </a:lnTo>
                      <a:lnTo>
                        <a:pt x="1516404" y="647643"/>
                      </a:lnTo>
                      <a:lnTo>
                        <a:pt x="1534980" y="625783"/>
                      </a:lnTo>
                      <a:lnTo>
                        <a:pt x="1563646" y="628516"/>
                      </a:lnTo>
                      <a:lnTo>
                        <a:pt x="1548593" y="604084"/>
                      </a:lnTo>
                      <a:lnTo>
                        <a:pt x="1560123" y="577723"/>
                      </a:lnTo>
                      <a:lnTo>
                        <a:pt x="1532098" y="584474"/>
                      </a:lnTo>
                      <a:close/>
                      <a:moveTo>
                        <a:pt x="540263" y="565346"/>
                      </a:moveTo>
                      <a:lnTo>
                        <a:pt x="518646" y="584474"/>
                      </a:lnTo>
                      <a:lnTo>
                        <a:pt x="490203" y="577723"/>
                      </a:lnTo>
                      <a:lnTo>
                        <a:pt x="502068" y="604084"/>
                      </a:lnTo>
                      <a:lnTo>
                        <a:pt x="486627" y="628516"/>
                      </a:lnTo>
                      <a:lnTo>
                        <a:pt x="515721" y="625783"/>
                      </a:lnTo>
                      <a:lnTo>
                        <a:pt x="534575" y="647643"/>
                      </a:lnTo>
                      <a:lnTo>
                        <a:pt x="540751" y="619514"/>
                      </a:lnTo>
                      <a:lnTo>
                        <a:pt x="567731" y="608584"/>
                      </a:lnTo>
                      <a:lnTo>
                        <a:pt x="542539" y="594118"/>
                      </a:lnTo>
                      <a:close/>
                      <a:moveTo>
                        <a:pt x="1422950" y="487819"/>
                      </a:moveTo>
                      <a:lnTo>
                        <a:pt x="1425843" y="516913"/>
                      </a:lnTo>
                      <a:lnTo>
                        <a:pt x="1403822" y="535766"/>
                      </a:lnTo>
                      <a:lnTo>
                        <a:pt x="1431951" y="541943"/>
                      </a:lnTo>
                      <a:lnTo>
                        <a:pt x="1442881" y="568923"/>
                      </a:lnTo>
                      <a:lnTo>
                        <a:pt x="1457347" y="543731"/>
                      </a:lnTo>
                      <a:lnTo>
                        <a:pt x="1486119" y="541618"/>
                      </a:lnTo>
                      <a:lnTo>
                        <a:pt x="1466992" y="519838"/>
                      </a:lnTo>
                      <a:lnTo>
                        <a:pt x="1473743" y="491557"/>
                      </a:lnTo>
                      <a:lnTo>
                        <a:pt x="1447382" y="503260"/>
                      </a:lnTo>
                      <a:close/>
                      <a:moveTo>
                        <a:pt x="627323" y="487819"/>
                      </a:moveTo>
                      <a:lnTo>
                        <a:pt x="602891" y="503260"/>
                      </a:lnTo>
                      <a:lnTo>
                        <a:pt x="576530" y="491557"/>
                      </a:lnTo>
                      <a:lnTo>
                        <a:pt x="583281" y="519838"/>
                      </a:lnTo>
                      <a:lnTo>
                        <a:pt x="564153" y="541618"/>
                      </a:lnTo>
                      <a:lnTo>
                        <a:pt x="592925" y="543731"/>
                      </a:lnTo>
                      <a:lnTo>
                        <a:pt x="607391" y="568923"/>
                      </a:lnTo>
                      <a:lnTo>
                        <a:pt x="618321" y="541943"/>
                      </a:lnTo>
                      <a:lnTo>
                        <a:pt x="646450" y="535766"/>
                      </a:lnTo>
                      <a:lnTo>
                        <a:pt x="624429" y="516913"/>
                      </a:lnTo>
                      <a:close/>
                      <a:moveTo>
                        <a:pt x="1374698" y="421027"/>
                      </a:moveTo>
                      <a:lnTo>
                        <a:pt x="1350701" y="437421"/>
                      </a:lnTo>
                      <a:lnTo>
                        <a:pt x="1323806" y="426437"/>
                      </a:lnTo>
                      <a:lnTo>
                        <a:pt x="1331697" y="454798"/>
                      </a:lnTo>
                      <a:lnTo>
                        <a:pt x="1313176" y="477422"/>
                      </a:lnTo>
                      <a:lnTo>
                        <a:pt x="1342004" y="478569"/>
                      </a:lnTo>
                      <a:lnTo>
                        <a:pt x="1357465" y="503324"/>
                      </a:lnTo>
                      <a:lnTo>
                        <a:pt x="1367450" y="475783"/>
                      </a:lnTo>
                      <a:lnTo>
                        <a:pt x="1395473" y="468569"/>
                      </a:lnTo>
                      <a:lnTo>
                        <a:pt x="1372765" y="450372"/>
                      </a:lnTo>
                      <a:close/>
                      <a:moveTo>
                        <a:pt x="676768" y="421027"/>
                      </a:moveTo>
                      <a:lnTo>
                        <a:pt x="678700" y="450372"/>
                      </a:lnTo>
                      <a:lnTo>
                        <a:pt x="655992" y="468569"/>
                      </a:lnTo>
                      <a:lnTo>
                        <a:pt x="684015" y="475783"/>
                      </a:lnTo>
                      <a:lnTo>
                        <a:pt x="694000" y="503324"/>
                      </a:lnTo>
                      <a:lnTo>
                        <a:pt x="709461" y="478569"/>
                      </a:lnTo>
                      <a:lnTo>
                        <a:pt x="738289" y="477422"/>
                      </a:lnTo>
                      <a:lnTo>
                        <a:pt x="719768" y="454798"/>
                      </a:lnTo>
                      <a:lnTo>
                        <a:pt x="727660" y="426437"/>
                      </a:lnTo>
                      <a:lnTo>
                        <a:pt x="700764" y="437421"/>
                      </a:lnTo>
                      <a:close/>
                      <a:moveTo>
                        <a:pt x="1264106" y="369741"/>
                      </a:moveTo>
                      <a:lnTo>
                        <a:pt x="1243238" y="389883"/>
                      </a:lnTo>
                      <a:lnTo>
                        <a:pt x="1214768" y="384035"/>
                      </a:lnTo>
                      <a:lnTo>
                        <a:pt x="1227385" y="410187"/>
                      </a:lnTo>
                      <a:lnTo>
                        <a:pt x="1212988" y="435526"/>
                      </a:lnTo>
                      <a:lnTo>
                        <a:pt x="1241782" y="431628"/>
                      </a:lnTo>
                      <a:lnTo>
                        <a:pt x="1261194" y="453231"/>
                      </a:lnTo>
                      <a:lnTo>
                        <a:pt x="1266371" y="424481"/>
                      </a:lnTo>
                      <a:lnTo>
                        <a:pt x="1292900" y="412461"/>
                      </a:lnTo>
                      <a:lnTo>
                        <a:pt x="1267341" y="398654"/>
                      </a:lnTo>
                      <a:close/>
                      <a:moveTo>
                        <a:pt x="786930" y="369741"/>
                      </a:moveTo>
                      <a:lnTo>
                        <a:pt x="783743" y="398654"/>
                      </a:lnTo>
                      <a:lnTo>
                        <a:pt x="758565" y="412461"/>
                      </a:lnTo>
                      <a:lnTo>
                        <a:pt x="784699" y="424481"/>
                      </a:lnTo>
                      <a:lnTo>
                        <a:pt x="789798" y="453231"/>
                      </a:lnTo>
                      <a:lnTo>
                        <a:pt x="808920" y="431628"/>
                      </a:lnTo>
                      <a:lnTo>
                        <a:pt x="837284" y="435526"/>
                      </a:lnTo>
                      <a:lnTo>
                        <a:pt x="823102" y="410187"/>
                      </a:lnTo>
                      <a:lnTo>
                        <a:pt x="835531" y="384035"/>
                      </a:lnTo>
                      <a:lnTo>
                        <a:pt x="807486" y="389883"/>
                      </a:lnTo>
                      <a:close/>
                      <a:moveTo>
                        <a:pt x="1146715" y="338730"/>
                      </a:moveTo>
                      <a:lnTo>
                        <a:pt x="1129724" y="362174"/>
                      </a:lnTo>
                      <a:lnTo>
                        <a:pt x="1100873" y="361204"/>
                      </a:lnTo>
                      <a:lnTo>
                        <a:pt x="1117703" y="384810"/>
                      </a:lnTo>
                      <a:lnTo>
                        <a:pt x="1108086" y="412135"/>
                      </a:lnTo>
                      <a:lnTo>
                        <a:pt x="1135334" y="403242"/>
                      </a:lnTo>
                      <a:lnTo>
                        <a:pt x="1158095" y="421027"/>
                      </a:lnTo>
                      <a:lnTo>
                        <a:pt x="1158255" y="391924"/>
                      </a:lnTo>
                      <a:lnTo>
                        <a:pt x="1181977" y="375594"/>
                      </a:lnTo>
                      <a:lnTo>
                        <a:pt x="1154729" y="366540"/>
                      </a:lnTo>
                      <a:close/>
                      <a:moveTo>
                        <a:pt x="904076" y="338730"/>
                      </a:moveTo>
                      <a:lnTo>
                        <a:pt x="895943" y="366540"/>
                      </a:lnTo>
                      <a:lnTo>
                        <a:pt x="868294" y="375594"/>
                      </a:lnTo>
                      <a:lnTo>
                        <a:pt x="892365" y="391924"/>
                      </a:lnTo>
                      <a:lnTo>
                        <a:pt x="892528" y="421027"/>
                      </a:lnTo>
                      <a:lnTo>
                        <a:pt x="915623" y="403242"/>
                      </a:lnTo>
                      <a:lnTo>
                        <a:pt x="943272" y="412135"/>
                      </a:lnTo>
                      <a:lnTo>
                        <a:pt x="933514" y="384810"/>
                      </a:lnTo>
                      <a:lnTo>
                        <a:pt x="950591" y="361204"/>
                      </a:lnTo>
                      <a:lnTo>
                        <a:pt x="921316" y="362174"/>
                      </a:lnTo>
                      <a:close/>
                      <a:moveTo>
                        <a:pt x="1025815" y="327996"/>
                      </a:moveTo>
                      <a:lnTo>
                        <a:pt x="1012795" y="353914"/>
                      </a:lnTo>
                      <a:lnTo>
                        <a:pt x="983988" y="358099"/>
                      </a:lnTo>
                      <a:lnTo>
                        <a:pt x="1004820" y="378222"/>
                      </a:lnTo>
                      <a:lnTo>
                        <a:pt x="999938" y="406715"/>
                      </a:lnTo>
                      <a:lnTo>
                        <a:pt x="1025815" y="393193"/>
                      </a:lnTo>
                      <a:lnTo>
                        <a:pt x="1051529" y="406715"/>
                      </a:lnTo>
                      <a:lnTo>
                        <a:pt x="1046646" y="378222"/>
                      </a:lnTo>
                      <a:lnTo>
                        <a:pt x="1067478" y="358099"/>
                      </a:lnTo>
                      <a:lnTo>
                        <a:pt x="1038672" y="353914"/>
                      </a:lnTo>
                      <a:close/>
                      <a:moveTo>
                        <a:pt x="1021692" y="287509"/>
                      </a:moveTo>
                      <a:cubicBezTo>
                        <a:pt x="1423168" y="287509"/>
                        <a:pt x="1748629" y="612970"/>
                        <a:pt x="1748629" y="1014446"/>
                      </a:cubicBezTo>
                      <a:cubicBezTo>
                        <a:pt x="1748629" y="1415922"/>
                        <a:pt x="1423168" y="1741383"/>
                        <a:pt x="1021692" y="1741383"/>
                      </a:cubicBezTo>
                      <a:cubicBezTo>
                        <a:pt x="620216" y="1741383"/>
                        <a:pt x="294755" y="1415922"/>
                        <a:pt x="294755" y="1014446"/>
                      </a:cubicBezTo>
                      <a:cubicBezTo>
                        <a:pt x="294755" y="612970"/>
                        <a:pt x="620216" y="287509"/>
                        <a:pt x="1021692" y="287509"/>
                      </a:cubicBezTo>
                      <a:close/>
                      <a:moveTo>
                        <a:pt x="1021692" y="204488"/>
                      </a:moveTo>
                      <a:cubicBezTo>
                        <a:pt x="574365" y="204488"/>
                        <a:pt x="211734" y="567119"/>
                        <a:pt x="211734" y="1014446"/>
                      </a:cubicBezTo>
                      <a:cubicBezTo>
                        <a:pt x="211734" y="1461773"/>
                        <a:pt x="574365" y="1824404"/>
                        <a:pt x="1021692" y="1824404"/>
                      </a:cubicBezTo>
                      <a:cubicBezTo>
                        <a:pt x="1469019" y="1824404"/>
                        <a:pt x="1831650" y="1461773"/>
                        <a:pt x="1831650" y="1014446"/>
                      </a:cubicBezTo>
                      <a:cubicBezTo>
                        <a:pt x="1831650" y="567119"/>
                        <a:pt x="1469019" y="204488"/>
                        <a:pt x="1021692" y="204488"/>
                      </a:cubicBezTo>
                      <a:close/>
                      <a:moveTo>
                        <a:pt x="1025813" y="0"/>
                      </a:moveTo>
                      <a:cubicBezTo>
                        <a:pt x="1111997" y="0"/>
                        <a:pt x="1184463" y="105835"/>
                        <a:pt x="1266289" y="127810"/>
                      </a:cubicBezTo>
                      <a:cubicBezTo>
                        <a:pt x="1348922" y="149947"/>
                        <a:pt x="1464641" y="94848"/>
                        <a:pt x="1538559" y="137667"/>
                      </a:cubicBezTo>
                      <a:cubicBezTo>
                        <a:pt x="1611992" y="180001"/>
                        <a:pt x="1622160" y="307811"/>
                        <a:pt x="1683167" y="368727"/>
                      </a:cubicBezTo>
                      <a:cubicBezTo>
                        <a:pt x="1744012" y="429804"/>
                        <a:pt x="1871674" y="439984"/>
                        <a:pt x="1913958" y="513503"/>
                      </a:cubicBezTo>
                      <a:cubicBezTo>
                        <a:pt x="1956728" y="587507"/>
                        <a:pt x="1901693" y="703360"/>
                        <a:pt x="1923803" y="786089"/>
                      </a:cubicBezTo>
                      <a:cubicBezTo>
                        <a:pt x="1945753" y="868011"/>
                        <a:pt x="2051465" y="940722"/>
                        <a:pt x="2051465" y="1027006"/>
                      </a:cubicBezTo>
                      <a:cubicBezTo>
                        <a:pt x="2051465" y="1113290"/>
                        <a:pt x="1945753" y="1186001"/>
                        <a:pt x="1923803" y="1267923"/>
                      </a:cubicBezTo>
                      <a:cubicBezTo>
                        <a:pt x="1901693" y="1350490"/>
                        <a:pt x="1956728" y="1466343"/>
                        <a:pt x="1913958" y="1540347"/>
                      </a:cubicBezTo>
                      <a:cubicBezTo>
                        <a:pt x="1871674" y="1613866"/>
                        <a:pt x="1744012" y="1624046"/>
                        <a:pt x="1683167" y="1685123"/>
                      </a:cubicBezTo>
                      <a:cubicBezTo>
                        <a:pt x="1622160" y="1746201"/>
                        <a:pt x="1611992" y="1873849"/>
                        <a:pt x="1538559" y="1916345"/>
                      </a:cubicBezTo>
                      <a:cubicBezTo>
                        <a:pt x="1464641" y="1959002"/>
                        <a:pt x="1348922" y="1903903"/>
                        <a:pt x="1266289" y="1926040"/>
                      </a:cubicBezTo>
                      <a:cubicBezTo>
                        <a:pt x="1184463" y="1948015"/>
                        <a:pt x="1111997" y="2053850"/>
                        <a:pt x="1025813" y="2053850"/>
                      </a:cubicBezTo>
                      <a:cubicBezTo>
                        <a:pt x="939468" y="2053850"/>
                        <a:pt x="867003" y="1948015"/>
                        <a:pt x="785177" y="1926040"/>
                      </a:cubicBezTo>
                      <a:cubicBezTo>
                        <a:pt x="702543" y="1903903"/>
                        <a:pt x="586825" y="1959002"/>
                        <a:pt x="512907" y="1916345"/>
                      </a:cubicBezTo>
                      <a:cubicBezTo>
                        <a:pt x="439473" y="1873849"/>
                        <a:pt x="429305" y="1746201"/>
                        <a:pt x="368299" y="1685123"/>
                      </a:cubicBezTo>
                      <a:cubicBezTo>
                        <a:pt x="307454" y="1624046"/>
                        <a:pt x="179792" y="1613866"/>
                        <a:pt x="137507" y="1540347"/>
                      </a:cubicBezTo>
                      <a:cubicBezTo>
                        <a:pt x="94738" y="1466343"/>
                        <a:pt x="149773" y="1350490"/>
                        <a:pt x="127662" y="1267923"/>
                      </a:cubicBezTo>
                      <a:cubicBezTo>
                        <a:pt x="105713" y="1186001"/>
                        <a:pt x="0" y="1113290"/>
                        <a:pt x="0" y="1027006"/>
                      </a:cubicBezTo>
                      <a:cubicBezTo>
                        <a:pt x="0" y="940722"/>
                        <a:pt x="105713" y="868011"/>
                        <a:pt x="127662" y="786089"/>
                      </a:cubicBezTo>
                      <a:cubicBezTo>
                        <a:pt x="149773" y="703360"/>
                        <a:pt x="94738" y="587507"/>
                        <a:pt x="137507" y="513503"/>
                      </a:cubicBezTo>
                      <a:cubicBezTo>
                        <a:pt x="179792" y="439984"/>
                        <a:pt x="307454" y="429804"/>
                        <a:pt x="368299" y="368727"/>
                      </a:cubicBezTo>
                      <a:cubicBezTo>
                        <a:pt x="429305" y="307811"/>
                        <a:pt x="439473" y="180001"/>
                        <a:pt x="512907" y="137667"/>
                      </a:cubicBezTo>
                      <a:cubicBezTo>
                        <a:pt x="586825" y="94848"/>
                        <a:pt x="702543" y="149947"/>
                        <a:pt x="785177" y="127810"/>
                      </a:cubicBezTo>
                      <a:cubicBezTo>
                        <a:pt x="867003" y="105835"/>
                        <a:pt x="939468" y="0"/>
                        <a:pt x="1025813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0" name="Freeform 352"/>
                <p:cNvSpPr>
                  <a:spLocks/>
                </p:cNvSpPr>
                <p:nvPr/>
              </p:nvSpPr>
              <p:spPr bwMode="auto">
                <a:xfrm>
                  <a:off x="7016283" y="5434671"/>
                  <a:ext cx="865909" cy="1238035"/>
                </a:xfrm>
                <a:custGeom>
                  <a:avLst/>
                  <a:gdLst>
                    <a:gd name="T0" fmla="*/ 3234 w 5365"/>
                    <a:gd name="T1" fmla="*/ 384 h 7662"/>
                    <a:gd name="T2" fmla="*/ 1547 w 5365"/>
                    <a:gd name="T3" fmla="*/ 444 h 7662"/>
                    <a:gd name="T4" fmla="*/ 57 w 5365"/>
                    <a:gd name="T5" fmla="*/ 1235 h 7662"/>
                    <a:gd name="T6" fmla="*/ 0 w 5365"/>
                    <a:gd name="T7" fmla="*/ 1233 h 7662"/>
                    <a:gd name="T8" fmla="*/ 1722 w 5365"/>
                    <a:gd name="T9" fmla="*/ 7662 h 7662"/>
                    <a:gd name="T10" fmla="*/ 3185 w 5365"/>
                    <a:gd name="T11" fmla="*/ 5834 h 7662"/>
                    <a:gd name="T12" fmla="*/ 5365 w 5365"/>
                    <a:gd name="T13" fmla="*/ 6686 h 7662"/>
                    <a:gd name="T14" fmla="*/ 3574 w 5365"/>
                    <a:gd name="T15" fmla="*/ 0 h 7662"/>
                    <a:gd name="T16" fmla="*/ 3234 w 5365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5" h="7662">
                      <a:moveTo>
                        <a:pt x="3234" y="384"/>
                      </a:moveTo>
                      <a:cubicBezTo>
                        <a:pt x="2776" y="649"/>
                        <a:pt x="2059" y="307"/>
                        <a:pt x="1547" y="444"/>
                      </a:cubicBezTo>
                      <a:cubicBezTo>
                        <a:pt x="1040" y="580"/>
                        <a:pt x="591" y="1235"/>
                        <a:pt x="57" y="1235"/>
                      </a:cubicBezTo>
                      <a:cubicBezTo>
                        <a:pt x="37" y="1235"/>
                        <a:pt x="18" y="1235"/>
                        <a:pt x="0" y="1233"/>
                      </a:cubicBezTo>
                      <a:lnTo>
                        <a:pt x="1722" y="7662"/>
                      </a:lnTo>
                      <a:lnTo>
                        <a:pt x="3185" y="5834"/>
                      </a:lnTo>
                      <a:lnTo>
                        <a:pt x="5365" y="6686"/>
                      </a:lnTo>
                      <a:lnTo>
                        <a:pt x="3574" y="0"/>
                      </a:lnTo>
                      <a:cubicBezTo>
                        <a:pt x="3485" y="162"/>
                        <a:pt x="3380" y="300"/>
                        <a:pt x="3234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1" name="Freeform 353"/>
                <p:cNvSpPr>
                  <a:spLocks/>
                </p:cNvSpPr>
                <p:nvPr/>
              </p:nvSpPr>
              <p:spPr bwMode="auto">
                <a:xfrm>
                  <a:off x="6076425" y="5434671"/>
                  <a:ext cx="865909" cy="1238035"/>
                </a:xfrm>
                <a:custGeom>
                  <a:avLst/>
                  <a:gdLst>
                    <a:gd name="T0" fmla="*/ 2131 w 5366"/>
                    <a:gd name="T1" fmla="*/ 384 h 7662"/>
                    <a:gd name="T2" fmla="*/ 3818 w 5366"/>
                    <a:gd name="T3" fmla="*/ 444 h 7662"/>
                    <a:gd name="T4" fmla="*/ 5308 w 5366"/>
                    <a:gd name="T5" fmla="*/ 1235 h 7662"/>
                    <a:gd name="T6" fmla="*/ 5366 w 5366"/>
                    <a:gd name="T7" fmla="*/ 1233 h 7662"/>
                    <a:gd name="T8" fmla="*/ 3643 w 5366"/>
                    <a:gd name="T9" fmla="*/ 7662 h 7662"/>
                    <a:gd name="T10" fmla="*/ 2180 w 5366"/>
                    <a:gd name="T11" fmla="*/ 5834 h 7662"/>
                    <a:gd name="T12" fmla="*/ 0 w 5366"/>
                    <a:gd name="T13" fmla="*/ 6686 h 7662"/>
                    <a:gd name="T14" fmla="*/ 1791 w 5366"/>
                    <a:gd name="T15" fmla="*/ 0 h 7662"/>
                    <a:gd name="T16" fmla="*/ 2131 w 5366"/>
                    <a:gd name="T17" fmla="*/ 384 h 7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66" h="7662">
                      <a:moveTo>
                        <a:pt x="2131" y="384"/>
                      </a:moveTo>
                      <a:cubicBezTo>
                        <a:pt x="2589" y="649"/>
                        <a:pt x="3306" y="307"/>
                        <a:pt x="3818" y="444"/>
                      </a:cubicBezTo>
                      <a:cubicBezTo>
                        <a:pt x="4325" y="580"/>
                        <a:pt x="4774" y="1235"/>
                        <a:pt x="5308" y="1235"/>
                      </a:cubicBezTo>
                      <a:cubicBezTo>
                        <a:pt x="5328" y="1235"/>
                        <a:pt x="5347" y="1235"/>
                        <a:pt x="5366" y="1233"/>
                      </a:cubicBezTo>
                      <a:lnTo>
                        <a:pt x="3643" y="7662"/>
                      </a:lnTo>
                      <a:lnTo>
                        <a:pt x="2180" y="5834"/>
                      </a:lnTo>
                      <a:lnTo>
                        <a:pt x="0" y="6686"/>
                      </a:lnTo>
                      <a:lnTo>
                        <a:pt x="1791" y="0"/>
                      </a:lnTo>
                      <a:cubicBezTo>
                        <a:pt x="1880" y="162"/>
                        <a:pt x="1985" y="300"/>
                        <a:pt x="2131" y="384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696" name="TextBox 695"/>
            <p:cNvSpPr txBox="1"/>
            <p:nvPr/>
          </p:nvSpPr>
          <p:spPr>
            <a:xfrm>
              <a:off x="10930603" y="2261582"/>
              <a:ext cx="49885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$100</a:t>
              </a:r>
              <a:endParaRPr lang="en-US" sz="1200" dirty="0"/>
            </a:p>
          </p:txBody>
        </p:sp>
      </p:grpSp>
      <p:grpSp>
        <p:nvGrpSpPr>
          <p:cNvPr id="709" name="Browser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10500228" y="3857529"/>
            <a:ext cx="976144" cy="827326"/>
            <a:chOff x="2545" y="863"/>
            <a:chExt cx="2513" cy="2387"/>
          </a:xfrm>
          <a:solidFill>
            <a:schemeClr val="accent1"/>
          </a:solidFill>
        </p:grpSpPr>
        <p:sp>
          <p:nvSpPr>
            <p:cNvPr id="710" name="Freeform 150"/>
            <p:cNvSpPr>
              <a:spLocks noEditPoints="1"/>
            </p:cNvSpPr>
            <p:nvPr/>
          </p:nvSpPr>
          <p:spPr bwMode="auto">
            <a:xfrm>
              <a:off x="2545" y="1523"/>
              <a:ext cx="2513" cy="1727"/>
            </a:xfrm>
            <a:custGeom>
              <a:avLst/>
              <a:gdLst>
                <a:gd name="T0" fmla="*/ 50 w 633"/>
                <a:gd name="T1" fmla="*/ 84 h 434"/>
                <a:gd name="T2" fmla="*/ 250 w 633"/>
                <a:gd name="T3" fmla="*/ 84 h 434"/>
                <a:gd name="T4" fmla="*/ 250 w 633"/>
                <a:gd name="T5" fmla="*/ 384 h 434"/>
                <a:gd name="T6" fmla="*/ 50 w 633"/>
                <a:gd name="T7" fmla="*/ 384 h 434"/>
                <a:gd name="T8" fmla="*/ 50 w 633"/>
                <a:gd name="T9" fmla="*/ 84 h 434"/>
                <a:gd name="T10" fmla="*/ 316 w 633"/>
                <a:gd name="T11" fmla="*/ 350 h 434"/>
                <a:gd name="T12" fmla="*/ 583 w 633"/>
                <a:gd name="T13" fmla="*/ 350 h 434"/>
                <a:gd name="T14" fmla="*/ 583 w 633"/>
                <a:gd name="T15" fmla="*/ 384 h 434"/>
                <a:gd name="T16" fmla="*/ 316 w 633"/>
                <a:gd name="T17" fmla="*/ 384 h 434"/>
                <a:gd name="T18" fmla="*/ 316 w 633"/>
                <a:gd name="T19" fmla="*/ 350 h 434"/>
                <a:gd name="T20" fmla="*/ 316 w 633"/>
                <a:gd name="T21" fmla="*/ 284 h 434"/>
                <a:gd name="T22" fmla="*/ 583 w 633"/>
                <a:gd name="T23" fmla="*/ 284 h 434"/>
                <a:gd name="T24" fmla="*/ 583 w 633"/>
                <a:gd name="T25" fmla="*/ 317 h 434"/>
                <a:gd name="T26" fmla="*/ 316 w 633"/>
                <a:gd name="T27" fmla="*/ 317 h 434"/>
                <a:gd name="T28" fmla="*/ 316 w 633"/>
                <a:gd name="T29" fmla="*/ 284 h 434"/>
                <a:gd name="T30" fmla="*/ 316 w 633"/>
                <a:gd name="T31" fmla="*/ 217 h 434"/>
                <a:gd name="T32" fmla="*/ 583 w 633"/>
                <a:gd name="T33" fmla="*/ 217 h 434"/>
                <a:gd name="T34" fmla="*/ 583 w 633"/>
                <a:gd name="T35" fmla="*/ 250 h 434"/>
                <a:gd name="T36" fmla="*/ 316 w 633"/>
                <a:gd name="T37" fmla="*/ 250 h 434"/>
                <a:gd name="T38" fmla="*/ 316 w 633"/>
                <a:gd name="T39" fmla="*/ 217 h 434"/>
                <a:gd name="T40" fmla="*/ 316 w 633"/>
                <a:gd name="T41" fmla="*/ 150 h 434"/>
                <a:gd name="T42" fmla="*/ 583 w 633"/>
                <a:gd name="T43" fmla="*/ 150 h 434"/>
                <a:gd name="T44" fmla="*/ 583 w 633"/>
                <a:gd name="T45" fmla="*/ 184 h 434"/>
                <a:gd name="T46" fmla="*/ 316 w 633"/>
                <a:gd name="T47" fmla="*/ 184 h 434"/>
                <a:gd name="T48" fmla="*/ 316 w 633"/>
                <a:gd name="T49" fmla="*/ 150 h 434"/>
                <a:gd name="T50" fmla="*/ 316 w 633"/>
                <a:gd name="T51" fmla="*/ 84 h 434"/>
                <a:gd name="T52" fmla="*/ 583 w 633"/>
                <a:gd name="T53" fmla="*/ 84 h 434"/>
                <a:gd name="T54" fmla="*/ 583 w 633"/>
                <a:gd name="T55" fmla="*/ 117 h 434"/>
                <a:gd name="T56" fmla="*/ 316 w 633"/>
                <a:gd name="T57" fmla="*/ 117 h 434"/>
                <a:gd name="T58" fmla="*/ 316 w 633"/>
                <a:gd name="T59" fmla="*/ 84 h 434"/>
                <a:gd name="T60" fmla="*/ 0 w 633"/>
                <a:gd name="T61" fmla="*/ 384 h 434"/>
                <a:gd name="T62" fmla="*/ 50 w 633"/>
                <a:gd name="T63" fmla="*/ 434 h 434"/>
                <a:gd name="T64" fmla="*/ 583 w 633"/>
                <a:gd name="T65" fmla="*/ 434 h 434"/>
                <a:gd name="T66" fmla="*/ 633 w 633"/>
                <a:gd name="T67" fmla="*/ 384 h 434"/>
                <a:gd name="T68" fmla="*/ 633 w 633"/>
                <a:gd name="T69" fmla="*/ 0 h 434"/>
                <a:gd name="T70" fmla="*/ 0 w 633"/>
                <a:gd name="T71" fmla="*/ 0 h 434"/>
                <a:gd name="T72" fmla="*/ 0 w 633"/>
                <a:gd name="T73" fmla="*/ 384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33" h="434">
                  <a:moveTo>
                    <a:pt x="50" y="84"/>
                  </a:moveTo>
                  <a:lnTo>
                    <a:pt x="250" y="84"/>
                  </a:lnTo>
                  <a:lnTo>
                    <a:pt x="250" y="384"/>
                  </a:lnTo>
                  <a:lnTo>
                    <a:pt x="50" y="384"/>
                  </a:lnTo>
                  <a:lnTo>
                    <a:pt x="50" y="84"/>
                  </a:lnTo>
                  <a:close/>
                  <a:moveTo>
                    <a:pt x="316" y="350"/>
                  </a:moveTo>
                  <a:lnTo>
                    <a:pt x="583" y="350"/>
                  </a:lnTo>
                  <a:lnTo>
                    <a:pt x="583" y="384"/>
                  </a:lnTo>
                  <a:lnTo>
                    <a:pt x="316" y="384"/>
                  </a:lnTo>
                  <a:lnTo>
                    <a:pt x="316" y="350"/>
                  </a:lnTo>
                  <a:close/>
                  <a:moveTo>
                    <a:pt x="316" y="284"/>
                  </a:moveTo>
                  <a:lnTo>
                    <a:pt x="583" y="284"/>
                  </a:lnTo>
                  <a:lnTo>
                    <a:pt x="583" y="317"/>
                  </a:lnTo>
                  <a:lnTo>
                    <a:pt x="316" y="317"/>
                  </a:lnTo>
                  <a:lnTo>
                    <a:pt x="316" y="284"/>
                  </a:lnTo>
                  <a:close/>
                  <a:moveTo>
                    <a:pt x="316" y="217"/>
                  </a:moveTo>
                  <a:lnTo>
                    <a:pt x="583" y="217"/>
                  </a:lnTo>
                  <a:lnTo>
                    <a:pt x="583" y="250"/>
                  </a:lnTo>
                  <a:lnTo>
                    <a:pt x="316" y="250"/>
                  </a:lnTo>
                  <a:lnTo>
                    <a:pt x="316" y="217"/>
                  </a:lnTo>
                  <a:close/>
                  <a:moveTo>
                    <a:pt x="316" y="150"/>
                  </a:moveTo>
                  <a:lnTo>
                    <a:pt x="583" y="150"/>
                  </a:lnTo>
                  <a:lnTo>
                    <a:pt x="583" y="184"/>
                  </a:lnTo>
                  <a:lnTo>
                    <a:pt x="316" y="184"/>
                  </a:lnTo>
                  <a:lnTo>
                    <a:pt x="316" y="150"/>
                  </a:lnTo>
                  <a:close/>
                  <a:moveTo>
                    <a:pt x="316" y="84"/>
                  </a:moveTo>
                  <a:lnTo>
                    <a:pt x="583" y="84"/>
                  </a:lnTo>
                  <a:lnTo>
                    <a:pt x="583" y="117"/>
                  </a:lnTo>
                  <a:lnTo>
                    <a:pt x="316" y="117"/>
                  </a:lnTo>
                  <a:lnTo>
                    <a:pt x="316" y="84"/>
                  </a:lnTo>
                  <a:close/>
                  <a:moveTo>
                    <a:pt x="0" y="384"/>
                  </a:moveTo>
                  <a:cubicBezTo>
                    <a:pt x="0" y="411"/>
                    <a:pt x="22" y="434"/>
                    <a:pt x="50" y="434"/>
                  </a:cubicBezTo>
                  <a:lnTo>
                    <a:pt x="583" y="434"/>
                  </a:lnTo>
                  <a:cubicBezTo>
                    <a:pt x="611" y="434"/>
                    <a:pt x="633" y="411"/>
                    <a:pt x="633" y="384"/>
                  </a:cubicBezTo>
                  <a:lnTo>
                    <a:pt x="633" y="0"/>
                  </a:lnTo>
                  <a:lnTo>
                    <a:pt x="0" y="0"/>
                  </a:lnTo>
                  <a:lnTo>
                    <a:pt x="0" y="3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1" name="Freeform 151"/>
            <p:cNvSpPr>
              <a:spLocks noEditPoints="1"/>
            </p:cNvSpPr>
            <p:nvPr/>
          </p:nvSpPr>
          <p:spPr bwMode="auto">
            <a:xfrm>
              <a:off x="2545" y="863"/>
              <a:ext cx="2513" cy="529"/>
            </a:xfrm>
            <a:custGeom>
              <a:avLst/>
              <a:gdLst>
                <a:gd name="T0" fmla="*/ 266 w 633"/>
                <a:gd name="T1" fmla="*/ 100 h 133"/>
                <a:gd name="T2" fmla="*/ 233 w 633"/>
                <a:gd name="T3" fmla="*/ 66 h 133"/>
                <a:gd name="T4" fmla="*/ 266 w 633"/>
                <a:gd name="T5" fmla="*/ 33 h 133"/>
                <a:gd name="T6" fmla="*/ 300 w 633"/>
                <a:gd name="T7" fmla="*/ 66 h 133"/>
                <a:gd name="T8" fmla="*/ 266 w 633"/>
                <a:gd name="T9" fmla="*/ 100 h 133"/>
                <a:gd name="T10" fmla="*/ 166 w 633"/>
                <a:gd name="T11" fmla="*/ 100 h 133"/>
                <a:gd name="T12" fmla="*/ 133 w 633"/>
                <a:gd name="T13" fmla="*/ 66 h 133"/>
                <a:gd name="T14" fmla="*/ 166 w 633"/>
                <a:gd name="T15" fmla="*/ 33 h 133"/>
                <a:gd name="T16" fmla="*/ 200 w 633"/>
                <a:gd name="T17" fmla="*/ 66 h 133"/>
                <a:gd name="T18" fmla="*/ 166 w 633"/>
                <a:gd name="T19" fmla="*/ 100 h 133"/>
                <a:gd name="T20" fmla="*/ 66 w 633"/>
                <a:gd name="T21" fmla="*/ 100 h 133"/>
                <a:gd name="T22" fmla="*/ 33 w 633"/>
                <a:gd name="T23" fmla="*/ 66 h 133"/>
                <a:gd name="T24" fmla="*/ 66 w 633"/>
                <a:gd name="T25" fmla="*/ 33 h 133"/>
                <a:gd name="T26" fmla="*/ 100 w 633"/>
                <a:gd name="T27" fmla="*/ 66 h 133"/>
                <a:gd name="T28" fmla="*/ 66 w 633"/>
                <a:gd name="T29" fmla="*/ 100 h 133"/>
                <a:gd name="T30" fmla="*/ 583 w 633"/>
                <a:gd name="T31" fmla="*/ 0 h 133"/>
                <a:gd name="T32" fmla="*/ 50 w 633"/>
                <a:gd name="T33" fmla="*/ 0 h 133"/>
                <a:gd name="T34" fmla="*/ 0 w 633"/>
                <a:gd name="T35" fmla="*/ 50 h 133"/>
                <a:gd name="T36" fmla="*/ 0 w 633"/>
                <a:gd name="T37" fmla="*/ 133 h 133"/>
                <a:gd name="T38" fmla="*/ 633 w 633"/>
                <a:gd name="T39" fmla="*/ 133 h 133"/>
                <a:gd name="T40" fmla="*/ 633 w 633"/>
                <a:gd name="T41" fmla="*/ 50 h 133"/>
                <a:gd name="T42" fmla="*/ 583 w 633"/>
                <a:gd name="T43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3" h="133">
                  <a:moveTo>
                    <a:pt x="266" y="100"/>
                  </a:moveTo>
                  <a:cubicBezTo>
                    <a:pt x="248" y="100"/>
                    <a:pt x="233" y="85"/>
                    <a:pt x="233" y="66"/>
                  </a:cubicBezTo>
                  <a:cubicBezTo>
                    <a:pt x="233" y="48"/>
                    <a:pt x="248" y="33"/>
                    <a:pt x="266" y="33"/>
                  </a:cubicBezTo>
                  <a:cubicBezTo>
                    <a:pt x="285" y="33"/>
                    <a:pt x="300" y="48"/>
                    <a:pt x="300" y="66"/>
                  </a:cubicBezTo>
                  <a:cubicBezTo>
                    <a:pt x="300" y="85"/>
                    <a:pt x="285" y="100"/>
                    <a:pt x="266" y="100"/>
                  </a:cubicBezTo>
                  <a:close/>
                  <a:moveTo>
                    <a:pt x="166" y="100"/>
                  </a:moveTo>
                  <a:cubicBezTo>
                    <a:pt x="148" y="100"/>
                    <a:pt x="133" y="85"/>
                    <a:pt x="133" y="66"/>
                  </a:cubicBezTo>
                  <a:cubicBezTo>
                    <a:pt x="133" y="48"/>
                    <a:pt x="148" y="33"/>
                    <a:pt x="166" y="33"/>
                  </a:cubicBezTo>
                  <a:cubicBezTo>
                    <a:pt x="185" y="33"/>
                    <a:pt x="200" y="48"/>
                    <a:pt x="200" y="66"/>
                  </a:cubicBezTo>
                  <a:cubicBezTo>
                    <a:pt x="200" y="85"/>
                    <a:pt x="185" y="100"/>
                    <a:pt x="166" y="100"/>
                  </a:cubicBezTo>
                  <a:close/>
                  <a:moveTo>
                    <a:pt x="66" y="100"/>
                  </a:moveTo>
                  <a:cubicBezTo>
                    <a:pt x="48" y="100"/>
                    <a:pt x="33" y="85"/>
                    <a:pt x="33" y="66"/>
                  </a:cubicBezTo>
                  <a:cubicBezTo>
                    <a:pt x="33" y="48"/>
                    <a:pt x="48" y="33"/>
                    <a:pt x="66" y="33"/>
                  </a:cubicBezTo>
                  <a:cubicBezTo>
                    <a:pt x="85" y="33"/>
                    <a:pt x="100" y="48"/>
                    <a:pt x="100" y="66"/>
                  </a:cubicBezTo>
                  <a:cubicBezTo>
                    <a:pt x="100" y="85"/>
                    <a:pt x="85" y="100"/>
                    <a:pt x="66" y="100"/>
                  </a:cubicBezTo>
                  <a:close/>
                  <a:moveTo>
                    <a:pt x="583" y="0"/>
                  </a:moveTo>
                  <a:lnTo>
                    <a:pt x="50" y="0"/>
                  </a:lnTo>
                  <a:cubicBezTo>
                    <a:pt x="22" y="0"/>
                    <a:pt x="0" y="22"/>
                    <a:pt x="0" y="50"/>
                  </a:cubicBezTo>
                  <a:lnTo>
                    <a:pt x="0" y="133"/>
                  </a:lnTo>
                  <a:lnTo>
                    <a:pt x="633" y="133"/>
                  </a:lnTo>
                  <a:lnTo>
                    <a:pt x="633" y="50"/>
                  </a:lnTo>
                  <a:cubicBezTo>
                    <a:pt x="633" y="22"/>
                    <a:pt x="611" y="0"/>
                    <a:pt x="58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12" name="TextBox 711"/>
          <p:cNvSpPr txBox="1"/>
          <p:nvPr/>
        </p:nvSpPr>
        <p:spPr>
          <a:xfrm>
            <a:off x="9974175" y="3495206"/>
            <a:ext cx="19939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erta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 </a:t>
            </a:r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amacia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04757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7.40741E-7 L -0.07304 0.29537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59" y="147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2.96296E-6 L 0.36732 -0.35602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359" y="-178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3.33333E-6 L 0.29987 -0.10857 " pathEditMode="relative" rAng="0" ptsTypes="AA">
                                      <p:cBhvr>
                                        <p:cTn id="39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987" y="-544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2.22222E-6 L 0.29479 0.05787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740" y="28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8000"/>
                            </p:stCondLst>
                            <p:childTnLst>
                              <p:par>
                                <p:cTn id="4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000"/>
                            </p:stCondLst>
                            <p:childTnLst>
                              <p:par>
                                <p:cTn id="5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26 -0.00949 L 0.29492 0.21782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753" y="1136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0000"/>
                            </p:stCondLst>
                            <p:childTnLst>
                              <p:par>
                                <p:cTn id="5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1.48148E-6 L -0.39896 0.34213 " pathEditMode="relative" rAng="0" ptsTypes="AA">
                                      <p:cBhvr>
                                        <p:cTn id="68" dur="2000" fill="hold"/>
                                        <p:tgtEl>
                                          <p:spTgt spid="2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948" y="17106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2.96296E-6 L -0.3892 0.18125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2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466" y="9051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2.59259E-6 L -0.38932 0.02408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466" y="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000"/>
                            </p:stCondLst>
                            <p:childTnLst>
                              <p:par>
                                <p:cTn id="74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2000"/>
                            </p:stCondLst>
                            <p:childTnLst>
                              <p:par>
                                <p:cTn id="8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2000"/>
                            </p:stCondLst>
                            <p:childTnLst>
                              <p:par>
                                <p:cTn id="8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2000"/>
                            </p:stCondLst>
                            <p:childTnLst>
                              <p:par>
                                <p:cTn id="8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000"/>
                            </p:stCondLst>
                            <p:childTnLst>
                              <p:par>
                                <p:cTn id="9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2000"/>
                            </p:stCondLst>
                            <p:childTnLst>
                              <p:par>
                                <p:cTn id="9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2000"/>
                            </p:stCondLst>
                            <p:childTnLst>
                              <p:par>
                                <p:cTn id="9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2000"/>
                            </p:stCondLst>
                            <p:childTnLst>
                              <p:par>
                                <p:cTn id="99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2000"/>
                            </p:stCondLst>
                            <p:childTnLst>
                              <p:par>
                                <p:cTn id="10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2000"/>
                            </p:stCondLst>
                            <p:childTnLst>
                              <p:par>
                                <p:cTn id="10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2000"/>
                            </p:stCondLst>
                            <p:childTnLst>
                              <p:par>
                                <p:cTn id="10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1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14" presetID="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17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96296E-6 L -8.33333E-7 2.96296E-6 L -0.07343 0.00532 C -0.09114 0.00717 -0.06797 0.00856 -0.08593 0.01365 C -0.13659 0.02824 -0.17539 0.03472 -0.225 0.04421 C -0.2375 0.05254 -0.25052 0.05902 -0.2625 0.06921 C -0.27357 0.0787 -0.28255 0.09467 -0.29375 0.10254 C -0.30364 0.10972 -0.31458 0.10995 -0.325 0.11365 C -0.33177 0.12199 -0.34036 0.12708 -0.34531 0.13865 C -0.35169 0.15324 -0.35234 0.18773 -0.35312 0.20532 C -0.34791 0.21551 -0.34427 0.22916 -0.3375 0.23588 C -0.32656 0.24722 -0.31367 0.25092 -0.30156 0.2581 C -0.29648 0.26111 -0.2914 0.26504 -0.28593 0.26643 C -0.27721 0.26875 -0.26823 0.26828 -0.25937 0.26921 C -0.22343 0.26736 -0.18593 0.2824 -0.15156 0.26365 C -0.14544 0.26041 -0.12721 0.24953 -0.11875 0.24699 C -0.11107 0.24467 -0.10312 0.24328 -0.09531 0.24143 C -0.09166 0.23958 -0.08815 0.2375 -0.08437 0.23588 C -0.072 0.23102 -0.06666 0.23032 -0.05468 0.22754 C -0.04114 0.22847 -0.0276 0.22893 -0.01406 0.23032 C -0.00989 0.23078 -0.00573 0.23472 -0.00156 0.2331 C 0.00026 0.2324 0.00157 0.22477 0.00157 0.22477 L 0.00469 0.2331 " pathEditMode="relative" ptsTypes="AAAAAAAAAAAAAAAAAAAAAAA">
                                      <p:cBhvr>
                                        <p:cTn id="118" dur="2000" fill="hold"/>
                                        <p:tgtEl>
                                          <p:spTgt spid="6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4000"/>
                            </p:stCondLst>
                            <p:childTnLst>
                              <p:par>
                                <p:cTn id="1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4000"/>
                            </p:stCondLst>
                            <p:childTnLst>
                              <p:par>
                                <p:cTn id="1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4000"/>
                            </p:stCondLst>
                            <p:childTnLst>
                              <p:par>
                                <p:cTn id="12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4000"/>
                            </p:stCondLst>
                            <p:childTnLst>
                              <p:par>
                                <p:cTn id="1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4000"/>
                            </p:stCondLst>
                            <p:childTnLst>
                              <p:par>
                                <p:cTn id="132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625E-6 5.55556E-6 L 5.625E-6 5.55556E-6 C 0.01186 -0.00277 0.02384 -0.00694 0.03581 -0.00832 L 0.11081 -0.01666 C 0.11329 -0.01782 0.12292 -0.02221 0.12488 -0.02221 C 0.14792 -0.02221 0.17071 -0.02036 0.19363 -0.01944 C 0.19467 -0.01573 0.1961 -0.01226 0.19675 -0.00832 C 0.19871 0.0014 0.19962 0.01297 0.19519 0.02223 C 0.19389 0.02501 0.19102 0.02362 0.18894 0.02501 C 0.18634 0.0264 0.18386 0.02894 0.18113 0.03055 C 0.17917 0.03172 0.17709 0.03242 0.17488 0.03334 C 0.1724 0.03427 0.1698 0.03519 0.16706 0.03612 C 0.15782 0.03913 0.1586 0.0382 0.14988 0.04168 C 0.13595 0.047 0.15053 0.04144 0.13894 0.04723 C 0.1349 0.04908 0.12644 0.05279 0.12644 0.05279 C 0.11029 0.06992 0.12709 0.05418 0.11081 0.0639 C 0.10261 0.06876 0.10678 0.06876 0.09988 0.07501 C 0.09845 0.07617 0.09675 0.0764 0.09519 0.07779 C 0.08842 0.08381 0.09206 0.08404 0.08425 0.09168 C 0.08087 0.09492 0.07696 0.09677 0.07331 0.10001 C 0.06121 0.11066 0.07579 0.10117 0.06394 0.10834 C 0.0629 0.11112 0.06238 0.11436 0.06081 0.11668 C 0.05964 0.1183 0.05756 0.1176 0.05613 0.11945 C 0.0543 0.12154 0.05326 0.12524 0.05144 0.12779 C 0.05001 0.12987 0.04818 0.1308 0.04675 0.13334 C 0.04493 0.13658 0.04363 0.14052 0.04206 0.14445 C 0.04102 0.147 0.0405 0.15047 0.03894 0.15279 C 0.03777 0.15441 0.03581 0.15464 0.03425 0.15556 C 0.03113 0.16112 0.02865 0.16783 0.02488 0.17223 L 0.0155 0.18334 C 0.01342 0.1889 0.01238 0.19631 0.00925 0.20001 C 0.00339 0.20695 0.006 0.20302 0.00144 0.21112 L 0.00144 0.21112 " pathEditMode="relative" ptsTypes="AAAAAAAAAAAAAAAAAAAAAAAAAAAAAAAAA">
                                      <p:cBhvr>
                                        <p:cTn id="133" dur="2000" fill="hold"/>
                                        <p:tgtEl>
                                          <p:spTgt spid="6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6000"/>
                            </p:stCondLst>
                            <p:childTnLst>
                              <p:par>
                                <p:cTn id="13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2" grpId="0"/>
      <p:bldP spid="36" grpId="0" animBg="1"/>
      <p:bldP spid="142" grpId="0" animBg="1"/>
      <p:bldP spid="563" grpId="0" animBg="1"/>
      <p:bldP spid="563" grpId="1" animBg="1"/>
      <p:bldP spid="599" grpId="0" animBg="1"/>
      <p:bldP spid="599" grpId="1" animBg="1"/>
      <p:bldP spid="599" grpId="2" animBg="1"/>
      <p:bldP spid="675" grpId="0"/>
      <p:bldP spid="676" grpId="0"/>
      <p:bldP spid="677" grpId="0"/>
      <p:bldP spid="678" grpId="0"/>
      <p:bldP spid="71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vantag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ore options</a:t>
            </a:r>
          </a:p>
          <a:p>
            <a:r>
              <a:rPr lang="en-US" dirty="0" smtClean="0"/>
              <a:t>Insurance claims</a:t>
            </a:r>
          </a:p>
          <a:p>
            <a:r>
              <a:rPr lang="en-US" dirty="0" smtClean="0"/>
              <a:t>Lesser Price</a:t>
            </a:r>
          </a:p>
          <a:p>
            <a:r>
              <a:rPr lang="en-US" dirty="0" smtClean="0"/>
              <a:t>Rating Pharmacies – improves service</a:t>
            </a:r>
          </a:p>
          <a:p>
            <a:r>
              <a:rPr lang="en-US" dirty="0" smtClean="0"/>
              <a:t>Forces them to sell more generics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Used</a:t>
            </a:r>
          </a:p>
          <a:p>
            <a:r>
              <a:rPr lang="en-US" dirty="0" smtClean="0"/>
              <a:t>Neo </a:t>
            </a:r>
            <a:r>
              <a:rPr lang="en-US" dirty="0" err="1" smtClean="0"/>
              <a:t>Blockchain</a:t>
            </a:r>
            <a:r>
              <a:rPr lang="en-US" dirty="0" smtClean="0"/>
              <a:t>, Attempted Azure </a:t>
            </a:r>
            <a:r>
              <a:rPr lang="en-US" dirty="0" err="1" smtClean="0"/>
              <a:t>Ethereum</a:t>
            </a:r>
            <a:r>
              <a:rPr lang="en-US" dirty="0" smtClean="0"/>
              <a:t> – couldn’t deplo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882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n_POWER_USER_SEPARATOR_ICONS_guy_POWER_USER_SEPARATOR_ICONS_male_POWER_USER_SEPARATOR_ICONS_mens-bathroom_POWER_USER_SEPARATOR_ICONS_people_POWER_USER_SEPARATOR_ICONS_pers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avatar_POWER_USER_SEPARATOR_ICONS_business_POWER_USER_SEPARATOR_ICONS_business-profile_POWER_USER_SEPARATOR_ICONS_business-user_POWER_USER_SEPARATOR_ICONS_businessman_POWER_USER_SEPARATOR_ICONS_businesswoman_POWER_USER_SEPARATOR_ICONS_profil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avatar_POWER_USER_SEPARATOR_ICONS_business_POWER_USER_SEPARATOR_ICONS_business-profile_POWER_USER_SEPARATOR_ICONS_business-user_POWER_USER_SEPARATOR_ICONS_businessman_POWER_USER_SEPARATOR_ICONS_businesswoman_POWER_USER_SEPARATOR_ICONS_profi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alth-facility_POWER_USER_SEPARATOR_ICONS_clinic_POWER_USER_SEPARATOR_ICONS_doctor_POWER_USER_SEPARATOR_ICONS_health_POWER_USER_SEPARATOR_ICONS_hospital_POWER_USER_SEPARATOR_ICONS_humanitarian_POWER_USER_SEPARATOR_ICONS_infrastructure_POWER_USER_SEPARATOR_ICONS_shelter_POWER_USER_SEPARATOR_ICONS_sicknes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alth-facility_POWER_USER_SEPARATOR_ICONS_clinic_POWER_USER_SEPARATOR_ICONS_doctor_POWER_USER_SEPARATOR_ICONS_health_POWER_USER_SEPARATOR_ICONS_hospital_POWER_USER_SEPARATOR_ICONS_humanitarian_POWER_USER_SEPARATOR_ICONS_infrastructure_POWER_USER_SEPARATOR_ICONS_shelter_POWER_USER_SEPARATOR_ICONS_sickness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n_POWER_USER_SEPARATOR_ICONS_guy_POWER_USER_SEPARATOR_ICONS_male_POWER_USER_SEPARATOR_ICONS_mens-bathroom_POWER_USER_SEPARATOR_ICONS_people_POWER_USER_SEPARATOR_ICONS_pers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n_POWER_USER_SEPARATOR_ICONS_guy_POWER_USER_SEPARATOR_ICONS_male_POWER_USER_SEPARATOR_ICONS_mens-bathroom_POWER_USER_SEPARATOR_ICONS_people_POWER_USER_SEPARATOR_ICONS_pers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rowser_POWER_USER_SEPARATOR_ICONS_internet_POWER_USER_SEPARATOR_ICONS_wirefram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ward*ribbon*succes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alth-facility_POWER_USER_SEPARATOR_ICONS_clinic_POWER_USER_SEPARATOR_ICONS_doctor_POWER_USER_SEPARATOR_ICONS_health_POWER_USER_SEPARATOR_ICONS_hospital_POWER_USER_SEPARATOR_ICONS_humanitarian_POWER_USER_SEPARATOR_ICONS_infrastructure_POWER_USER_SEPARATOR_ICONS_shelter_POWER_USER_SEPARATOR_ICONS_sicknes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ward*ribbon*succes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ward*ribbon*succes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rowser_POWER_USER_SEPARATOR_ICONS_internet_POWER_USER_SEPARATOR_ICONS_wirefram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heck-mark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ward*ribbon*succes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ward*ribbon*succes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ward*ribbon*succes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ser_POWER_USER_SEPARATOR_ICONS_avatar_POWER_USER_SEPARATOR_ICONS_business_POWER_USER_SEPARATOR_ICONS_business-profile_POWER_USER_SEPARATOR_ICONS_business-user_POWER_USER_SEPARATOR_ICONS_businessman_POWER_USER_SEPARATOR_ICONS_businesswoman_POWER_USER_SEPARATOR_ICONS_profi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0</TotalTime>
  <Words>75</Words>
  <Application>Microsoft Office PowerPoint</Application>
  <PresentationFormat>Widescreen</PresentationFormat>
  <Paragraphs>42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 Light</vt:lpstr>
      <vt:lpstr>Calibri</vt:lpstr>
      <vt:lpstr>Office Theme</vt:lpstr>
      <vt:lpstr>Conveniente</vt:lpstr>
      <vt:lpstr>PowerPoint Presentation</vt:lpstr>
      <vt:lpstr>Advantag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veniente</dc:title>
  <dc:creator>PooranPrasad</dc:creator>
  <cp:lastModifiedBy>PooranPrasad</cp:lastModifiedBy>
  <cp:revision>16</cp:revision>
  <dcterms:created xsi:type="dcterms:W3CDTF">2018-08-04T15:09:00Z</dcterms:created>
  <dcterms:modified xsi:type="dcterms:W3CDTF">2018-08-04T20:09:21Z</dcterms:modified>
</cp:coreProperties>
</file>